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2163" r:id="rId2"/>
    <p:sldId id="2164" r:id="rId3"/>
    <p:sldId id="2154" r:id="rId4"/>
    <p:sldId id="2214" r:id="rId5"/>
    <p:sldId id="2178" r:id="rId6"/>
    <p:sldId id="2177" r:id="rId7"/>
    <p:sldId id="2221" r:id="rId8"/>
    <p:sldId id="2223" r:id="rId9"/>
    <p:sldId id="2222" r:id="rId10"/>
    <p:sldId id="2219" r:id="rId11"/>
    <p:sldId id="2217" r:id="rId12"/>
    <p:sldId id="2218" r:id="rId13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 varScale="1">
        <p:scale>
          <a:sx n="89" d="100"/>
          <a:sy n="89" d="100"/>
        </p:scale>
        <p:origin x="-1338" y="-96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emf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P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NXmile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OK</a:t>
            </a:r>
            <a:r>
              <a:rPr lang="ko-KR" altLang="en-US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캐쉬백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319340"/>
              </p:ext>
            </p:extLst>
          </p:nvPr>
        </p:nvGraphicFramePr>
        <p:xfrm>
          <a:off x="344489" y="649665"/>
          <a:ext cx="9145014" cy="6160500"/>
        </p:xfrm>
        <a:graphic>
          <a:graphicData uri="http://schemas.openxmlformats.org/drawingml/2006/table">
            <a:tbl>
              <a:tblPr/>
              <a:tblGrid>
                <a:gridCol w="442040"/>
                <a:gridCol w="1085024"/>
                <a:gridCol w="1756659"/>
                <a:gridCol w="799798"/>
                <a:gridCol w="816637"/>
                <a:gridCol w="1004495"/>
                <a:gridCol w="955316"/>
                <a:gridCol w="1017862"/>
                <a:gridCol w="619109"/>
                <a:gridCol w="648074"/>
              </a:tblGrid>
              <a:tr h="238336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번호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 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3833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/W(WAS)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UI Tool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신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5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제휴사</a:t>
                      </a:r>
                      <a:r>
                        <a:rPr lang="ko-KR" alt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EP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nylink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5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제휴사</a:t>
                      </a:r>
                      <a:r>
                        <a:rPr lang="ko-KR" alt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EP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nylink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5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제휴사</a:t>
                      </a:r>
                      <a:r>
                        <a:rPr lang="ko-KR" alt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EP #3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nylink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소액결제 통신서버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ko-KR" alt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소액결제 통신서버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마케팅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KTG(</a:t>
                      </a:r>
                      <a:r>
                        <a:rPr lang="ko-KR" alt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케팅 </a:t>
                      </a: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p)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MKTG(</a:t>
                      </a:r>
                      <a:r>
                        <a:rPr lang="ko-KR" alt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마케팅 </a:t>
                      </a:r>
                      <a:r>
                        <a:rPr lang="en-US" altLang="ko-KR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B)</a:t>
                      </a:r>
                      <a:endParaRPr lang="en-US" altLang="ko-KR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산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회원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atch App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atch App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승인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p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  <a:endParaRPr lang="ko-KR" alt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1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App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산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회원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Batch DB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승인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B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DB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5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부사용자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상담용 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WAS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0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iplatform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6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WAS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iplatfor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7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내부사용자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상담용 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Web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8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In-Web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9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부사용자용 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ut-WAS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iplatfor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ut-WAS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0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 Designer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iplatform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1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외부사용자용 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ut-Web #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2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mile</a:t>
                      </a:r>
                      <a:r>
                        <a:rPr lang="en-US" sz="8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</a:t>
                      </a:r>
                      <a:r>
                        <a:rPr lang="en-US" sz="8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ut-Web #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통신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xdev_fep</a:t>
                      </a:r>
                      <a:endParaRPr kumimoji="0" lang="ko-KR" altLang="en-US" sz="850" b="0" kern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nylink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xdev_nxmwas</a:t>
                      </a:r>
                      <a:endParaRPr lang="en-US" altLang="ko-KR" sz="8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dev_nxmapp</a:t>
                      </a:r>
                      <a:endParaRPr lang="en-US" altLang="ko-KR" sz="8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  <a:endParaRPr lang="ko-KR" altLang="en-US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6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dev_nxmdb</a:t>
                      </a:r>
                      <a:endParaRPr lang="en-US" sz="85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7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마케팅</a:t>
                      </a: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50" b="0" kern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mc-scpddb1</a:t>
                      </a:r>
                      <a:endParaRPr kumimoji="0" lang="ko-KR" altLang="en-US" sz="850" b="0" kern="0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ubeon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5584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_</a:t>
                      </a:r>
                      <a:r>
                        <a:rPr lang="ko-KR" alt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테스트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xdev_apptst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MAX 4.0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5598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그룹 203"/>
          <p:cNvGrpSpPr/>
          <p:nvPr/>
        </p:nvGrpSpPr>
        <p:grpSpPr>
          <a:xfrm>
            <a:off x="1887862" y="6053929"/>
            <a:ext cx="7501314" cy="405890"/>
            <a:chOff x="1743765" y="6121941"/>
            <a:chExt cx="7983656" cy="432000"/>
          </a:xfrm>
        </p:grpSpPr>
        <p:pic>
          <p:nvPicPr>
            <p:cNvPr id="205" name="Picture 523" descr="netflowroutr"/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6459" y="6219242"/>
              <a:ext cx="544513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6" name="TextBox 20"/>
            <p:cNvSpPr txBox="1">
              <a:spLocks noChangeArrowheads="1"/>
            </p:cNvSpPr>
            <p:nvPr/>
          </p:nvSpPr>
          <p:spPr bwMode="auto">
            <a:xfrm>
              <a:off x="2493822" y="6258136"/>
              <a:ext cx="577850" cy="174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라우</a:t>
              </a:r>
              <a:r>
                <a:rPr kumimoji="0" lang="ko-KR" alt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터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pic>
          <p:nvPicPr>
            <p:cNvPr id="207" name="Picture 56" descr="Route-Switch_Processor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4417" y="6165448"/>
              <a:ext cx="231617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TextBox 20"/>
            <p:cNvSpPr txBox="1">
              <a:spLocks noChangeArrowheads="1"/>
            </p:cNvSpPr>
            <p:nvPr/>
          </p:nvSpPr>
          <p:spPr bwMode="auto">
            <a:xfrm>
              <a:off x="3392662" y="6258023"/>
              <a:ext cx="900100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백본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(L3)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스위치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pic>
          <p:nvPicPr>
            <p:cNvPr id="209" name="Picture 10" descr="Firewall_Vertical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377" y="6165267"/>
              <a:ext cx="212725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0" name="TextBox 20"/>
            <p:cNvSpPr txBox="1">
              <a:spLocks noChangeArrowheads="1"/>
            </p:cNvSpPr>
            <p:nvPr/>
          </p:nvSpPr>
          <p:spPr bwMode="auto">
            <a:xfrm>
              <a:off x="6758987" y="6258023"/>
              <a:ext cx="716321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방화</a:t>
              </a:r>
              <a:r>
                <a:rPr kumimoji="0" lang="ko-KR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벽</a:t>
              </a:r>
            </a:p>
          </p:txBody>
        </p:sp>
        <p:pic>
          <p:nvPicPr>
            <p:cNvPr id="211" name="Picture 34" descr="Local_Director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7618" y="6192254"/>
              <a:ext cx="323850" cy="306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2" name="TextBox 20"/>
            <p:cNvSpPr txBox="1">
              <a:spLocks noChangeArrowheads="1"/>
            </p:cNvSpPr>
            <p:nvPr/>
          </p:nvSpPr>
          <p:spPr bwMode="auto">
            <a:xfrm>
              <a:off x="7878884" y="6258023"/>
              <a:ext cx="716321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L4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스위치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pic>
          <p:nvPicPr>
            <p:cNvPr id="213" name="Picture 14" descr="Summit48si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8006" y="6269248"/>
              <a:ext cx="504825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4" name="TextBox 20"/>
            <p:cNvSpPr txBox="1">
              <a:spLocks noChangeArrowheads="1"/>
            </p:cNvSpPr>
            <p:nvPr/>
          </p:nvSpPr>
          <p:spPr bwMode="auto">
            <a:xfrm>
              <a:off x="8959760" y="6258023"/>
              <a:ext cx="716321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L2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스위치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pic>
          <p:nvPicPr>
            <p:cNvPr id="215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7897" y="6162886"/>
              <a:ext cx="287337" cy="36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6" name="TextBox 20"/>
            <p:cNvSpPr txBox="1">
              <a:spLocks noChangeArrowheads="1"/>
            </p:cNvSpPr>
            <p:nvPr/>
          </p:nvSpPr>
          <p:spPr bwMode="auto">
            <a:xfrm>
              <a:off x="4593600" y="6258023"/>
              <a:ext cx="900100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백본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(L3)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스위치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pic>
          <p:nvPicPr>
            <p:cNvPr id="217" name="Picture 14" descr="Summit48si"/>
            <p:cNvPicPr>
              <a:picLocks noChangeAspect="1" noChangeArrowheads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6027" y="6237498"/>
              <a:ext cx="511175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8" name="TextBox 20"/>
            <p:cNvSpPr txBox="1">
              <a:spLocks noChangeArrowheads="1"/>
            </p:cNvSpPr>
            <p:nvPr/>
          </p:nvSpPr>
          <p:spPr bwMode="auto">
            <a:xfrm>
              <a:off x="5913650" y="6258023"/>
              <a:ext cx="900100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L3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스위치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19" name="직사각형 218"/>
            <p:cNvSpPr/>
            <p:nvPr/>
          </p:nvSpPr>
          <p:spPr>
            <a:xfrm>
              <a:off x="1743765" y="6121941"/>
              <a:ext cx="7983656" cy="4320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endParaRPr>
            </a:p>
          </p:txBody>
        </p:sp>
      </p:grpSp>
      <p:sp>
        <p:nvSpPr>
          <p:cNvPr id="220" name="모서리가 둥근 직사각형 219"/>
          <p:cNvSpPr/>
          <p:nvPr/>
        </p:nvSpPr>
        <p:spPr>
          <a:xfrm>
            <a:off x="5163670" y="1135192"/>
            <a:ext cx="2955051" cy="1386327"/>
          </a:xfrm>
          <a:prstGeom prst="roundRect">
            <a:avLst/>
          </a:prstGeom>
          <a:solidFill>
            <a:sysClr val="window" lastClr="FFFFFF">
              <a:lumMod val="50000"/>
              <a:alpha val="11000"/>
            </a:sysClr>
          </a:solidFill>
          <a:ln w="254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221" name="모서리가 둥근 직사각형 220"/>
          <p:cNvSpPr/>
          <p:nvPr/>
        </p:nvSpPr>
        <p:spPr>
          <a:xfrm>
            <a:off x="4268476" y="2571329"/>
            <a:ext cx="5114348" cy="3233097"/>
          </a:xfrm>
          <a:prstGeom prst="roundRect">
            <a:avLst/>
          </a:prstGeom>
          <a:solidFill>
            <a:srgbClr val="CCFFFF">
              <a:alpha val="36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222" name="모서리가 둥근 직사각형 221"/>
          <p:cNvSpPr/>
          <p:nvPr/>
        </p:nvSpPr>
        <p:spPr>
          <a:xfrm>
            <a:off x="1887862" y="2571329"/>
            <a:ext cx="2282132" cy="3233097"/>
          </a:xfrm>
          <a:prstGeom prst="roundRect">
            <a:avLst/>
          </a:prstGeom>
          <a:solidFill>
            <a:srgbClr val="CCFFFF">
              <a:alpha val="36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223" name="모서리가 둥근 직사각형 222"/>
          <p:cNvSpPr/>
          <p:nvPr/>
        </p:nvSpPr>
        <p:spPr>
          <a:xfrm>
            <a:off x="1887862" y="940353"/>
            <a:ext cx="3091071" cy="1581166"/>
          </a:xfrm>
          <a:prstGeom prst="roundRect">
            <a:avLst/>
          </a:prstGeom>
          <a:solidFill>
            <a:srgbClr val="F79646">
              <a:lumMod val="40000"/>
              <a:lumOff val="60000"/>
              <a:alpha val="17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224" name="Picture 22" descr="Network_Cloud_Standard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158" y="1203415"/>
            <a:ext cx="912853" cy="486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" name="TextBox 20"/>
          <p:cNvSpPr txBox="1">
            <a:spLocks noChangeArrowheads="1"/>
          </p:cNvSpPr>
          <p:nvPr/>
        </p:nvSpPr>
        <p:spPr bwMode="auto">
          <a:xfrm>
            <a:off x="2438259" y="1169494"/>
            <a:ext cx="909870" cy="47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b="1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SKP</a:t>
            </a:r>
            <a:endParaRPr lang="en-US" altLang="ko-KR" sz="900" b="1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  <a:p>
            <a:pPr algn="ctr" latinLnBrk="0">
              <a:defRPr/>
            </a:pPr>
            <a:r>
              <a:rPr lang="en-US" altLang="ko-KR" sz="900" b="1" kern="0" dirty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Internet</a:t>
            </a:r>
            <a:r>
              <a:rPr lang="ko-KR" altLang="en-US" sz="900" b="1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망</a:t>
            </a:r>
            <a:endParaRPr lang="en-US" altLang="ko-KR" sz="900" b="1" kern="0" dirty="0" smtClean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  <a:p>
            <a:pPr algn="ctr" latinLnBrk="0">
              <a:defRPr/>
            </a:pPr>
            <a:r>
              <a:rPr lang="en-US" altLang="ko-KR" sz="900" b="1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(</a:t>
            </a:r>
            <a:r>
              <a:rPr lang="ko-KR" altLang="en-US" sz="900" b="1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외부사용자</a:t>
            </a:r>
            <a:r>
              <a:rPr lang="en-US" altLang="ko-KR" sz="900" b="1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)</a:t>
            </a:r>
            <a:endParaRPr lang="ko-KR" altLang="en-US" sz="900" b="1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pic>
        <p:nvPicPr>
          <p:cNvPr id="226" name="Picture 14" descr="Summit48si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075" y="4286998"/>
            <a:ext cx="474325" cy="143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7" name="그룹 194"/>
          <p:cNvGrpSpPr>
            <a:grpSpLocks/>
          </p:cNvGrpSpPr>
          <p:nvPr/>
        </p:nvGrpSpPr>
        <p:grpSpPr bwMode="auto">
          <a:xfrm>
            <a:off x="2108017" y="842398"/>
            <a:ext cx="1548839" cy="271463"/>
            <a:chOff x="-30736" y="229"/>
            <a:chExt cx="1052143" cy="234955"/>
          </a:xfrm>
        </p:grpSpPr>
        <p:sp>
          <p:nvSpPr>
            <p:cNvPr id="228" name="직사각형 505" descr="박스2"/>
            <p:cNvSpPr>
              <a:spLocks noChangeArrowheads="1"/>
            </p:cNvSpPr>
            <p:nvPr/>
          </p:nvSpPr>
          <p:spPr bwMode="auto">
            <a:xfrm>
              <a:off x="-30736" y="229"/>
              <a:ext cx="1032504" cy="23495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29" name="Text Box 158"/>
            <p:cNvSpPr txBox="1">
              <a:spLocks noChangeArrowheads="1"/>
            </p:cNvSpPr>
            <p:nvPr/>
          </p:nvSpPr>
          <p:spPr bwMode="auto">
            <a:xfrm>
              <a:off x="47711" y="1872"/>
              <a:ext cx="973696" cy="183904"/>
            </a:xfrm>
            <a:prstGeom prst="rect">
              <a:avLst/>
            </a:prstGeom>
            <a:noFill/>
          </p:spPr>
          <p:txBody>
            <a:bodyPr wrap="square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남산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NOC(Backbone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pic>
        <p:nvPicPr>
          <p:cNvPr id="230" name="Picture 14" descr="Summit48si"/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221" y="2129888"/>
            <a:ext cx="480292" cy="20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1" name="직선 연결선 230"/>
          <p:cNvCxnSpPr>
            <a:stCxn id="234" idx="0"/>
            <a:endCxn id="235" idx="2"/>
          </p:cNvCxnSpPr>
          <p:nvPr/>
        </p:nvCxnSpPr>
        <p:spPr>
          <a:xfrm flipH="1" flipV="1">
            <a:off x="2894433" y="3014192"/>
            <a:ext cx="645462" cy="130534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32" name="Picture 10" descr="Firewall_Vertical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636" y="1601660"/>
            <a:ext cx="199873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3" name="직선 연결선 232"/>
          <p:cNvCxnSpPr>
            <a:stCxn id="230" idx="0"/>
            <a:endCxn id="232" idx="2"/>
          </p:cNvCxnSpPr>
          <p:nvPr/>
        </p:nvCxnSpPr>
        <p:spPr>
          <a:xfrm flipH="1" flipV="1">
            <a:off x="2862573" y="1940242"/>
            <a:ext cx="1795" cy="189646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34" name="Picture 10" descr="Firewall_Vertical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704" y="3144726"/>
            <a:ext cx="198381" cy="338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698" y="2671135"/>
            <a:ext cx="271469" cy="34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" name="Picture 523" descr="netflowroutr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362" y="3422417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7" name="그룹 215"/>
          <p:cNvGrpSpPr>
            <a:grpSpLocks/>
          </p:cNvGrpSpPr>
          <p:nvPr/>
        </p:nvGrpSpPr>
        <p:grpSpPr bwMode="auto">
          <a:xfrm>
            <a:off x="6043294" y="5672670"/>
            <a:ext cx="1519929" cy="271463"/>
            <a:chOff x="0" y="0"/>
            <a:chExt cx="1032504" cy="234656"/>
          </a:xfrm>
        </p:grpSpPr>
        <p:sp>
          <p:nvSpPr>
            <p:cNvPr id="238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234656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39" name="Text Box 158"/>
            <p:cNvSpPr txBox="1">
              <a:spLocks noChangeArrowheads="1"/>
            </p:cNvSpPr>
            <p:nvPr/>
          </p:nvSpPr>
          <p:spPr bwMode="auto">
            <a:xfrm>
              <a:off x="58808" y="12167"/>
              <a:ext cx="901688" cy="163312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DDC(</a:t>
              </a:r>
              <a:r>
                <a:rPr kumimoji="0" lang="en-US" altLang="ko-KR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NXmile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pic>
        <p:nvPicPr>
          <p:cNvPr id="240" name="Picture 56" descr="Route-Switch_Processor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972" y="3335907"/>
            <a:ext cx="261028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1" name="직선 연결선 240"/>
          <p:cNvCxnSpPr/>
          <p:nvPr/>
        </p:nvCxnSpPr>
        <p:spPr>
          <a:xfrm flipH="1">
            <a:off x="4888978" y="3538758"/>
            <a:ext cx="331133" cy="2983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42" name="Picture 56" descr="Route-Switch_Processor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8812" y="4295109"/>
            <a:ext cx="261029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749" y="4074662"/>
            <a:ext cx="304284" cy="28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4" name="직선 연결선 243"/>
          <p:cNvCxnSpPr>
            <a:stCxn id="243" idx="1"/>
            <a:endCxn id="242" idx="3"/>
          </p:cNvCxnSpPr>
          <p:nvPr/>
        </p:nvCxnSpPr>
        <p:spPr>
          <a:xfrm flipH="1">
            <a:off x="5929840" y="4218598"/>
            <a:ext cx="489908" cy="279362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45" name="직선 연결선 244"/>
          <p:cNvCxnSpPr>
            <a:endCxn id="243" idx="3"/>
          </p:cNvCxnSpPr>
          <p:nvPr/>
        </p:nvCxnSpPr>
        <p:spPr>
          <a:xfrm flipH="1">
            <a:off x="6724032" y="4218598"/>
            <a:ext cx="304425" cy="0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46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749" y="3397060"/>
            <a:ext cx="304284" cy="28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7" name="직선 연결선 246"/>
          <p:cNvCxnSpPr>
            <a:stCxn id="246" idx="1"/>
            <a:endCxn id="240" idx="3"/>
          </p:cNvCxnSpPr>
          <p:nvPr/>
        </p:nvCxnSpPr>
        <p:spPr>
          <a:xfrm flipH="1" flipV="1">
            <a:off x="5498000" y="3538758"/>
            <a:ext cx="921749" cy="2237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48" name="구부러진 연결선 247"/>
          <p:cNvCxnSpPr>
            <a:stCxn id="400" idx="2"/>
            <a:endCxn id="242" idx="0"/>
          </p:cNvCxnSpPr>
          <p:nvPr/>
        </p:nvCxnSpPr>
        <p:spPr>
          <a:xfrm rot="16200000" flipH="1">
            <a:off x="5503490" y="3999272"/>
            <a:ext cx="587806" cy="3867"/>
          </a:xfrm>
          <a:prstGeom prst="curvedConnector3">
            <a:avLst>
              <a:gd name="adj1" fmla="val 50000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50" name="구부러진 연결선 249"/>
          <p:cNvCxnSpPr>
            <a:stCxn id="242" idx="1"/>
            <a:endCxn id="234" idx="3"/>
          </p:cNvCxnSpPr>
          <p:nvPr/>
        </p:nvCxnSpPr>
        <p:spPr>
          <a:xfrm rot="10800000">
            <a:off x="3639085" y="3314018"/>
            <a:ext cx="2029727" cy="1183942"/>
          </a:xfrm>
          <a:prstGeom prst="curvedConnector3">
            <a:avLst>
              <a:gd name="adj1" fmla="val 78055"/>
            </a:avLst>
          </a:prstGeom>
          <a:noFill/>
          <a:ln w="41275" cap="flat" cmpd="dbl" algn="ctr">
            <a:solidFill>
              <a:sysClr val="windowText" lastClr="000000"/>
            </a:solidFill>
            <a:prstDash val="solid"/>
            <a:headEnd type="oval" w="sm" len="sm"/>
            <a:tailEnd type="oval" w="sm" len="sm"/>
          </a:ln>
          <a:effectLst/>
        </p:spPr>
      </p:cxnSp>
      <p:cxnSp>
        <p:nvCxnSpPr>
          <p:cNvPr id="251" name="직선 연결선 250"/>
          <p:cNvCxnSpPr>
            <a:stCxn id="344" idx="0"/>
            <a:endCxn id="234" idx="2"/>
          </p:cNvCxnSpPr>
          <p:nvPr/>
        </p:nvCxnSpPr>
        <p:spPr>
          <a:xfrm flipV="1">
            <a:off x="3534619" y="3483309"/>
            <a:ext cx="5276" cy="253074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</a:ln>
          <a:effectLst/>
        </p:spPr>
      </p:cxnSp>
      <p:pic>
        <p:nvPicPr>
          <p:cNvPr id="252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937" y="3207777"/>
            <a:ext cx="304284" cy="28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3" name="직선 연결선 252"/>
          <p:cNvCxnSpPr>
            <a:stCxn id="252" idx="0"/>
            <a:endCxn id="235" idx="2"/>
          </p:cNvCxnSpPr>
          <p:nvPr/>
        </p:nvCxnSpPr>
        <p:spPr>
          <a:xfrm flipV="1">
            <a:off x="2472079" y="3014192"/>
            <a:ext cx="422353" cy="193585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54" name="Picture 63" descr="server_gray_s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807" y="3694023"/>
            <a:ext cx="337099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5" name="Picture 63" descr="server_gray_s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6221" y="3686565"/>
            <a:ext cx="338591" cy="338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" name="TextBox 20"/>
          <p:cNvSpPr txBox="1">
            <a:spLocks noChangeArrowheads="1"/>
          </p:cNvSpPr>
          <p:nvPr/>
        </p:nvSpPr>
        <p:spPr bwMode="auto">
          <a:xfrm>
            <a:off x="1954984" y="4019181"/>
            <a:ext cx="836781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SKP </a:t>
            </a:r>
            <a:r>
              <a:rPr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서버팜</a:t>
            </a:r>
            <a:endParaRPr lang="ko-KR" altLang="en-US" sz="900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cxnSp>
        <p:nvCxnSpPr>
          <p:cNvPr id="257" name="직선 연결선 256"/>
          <p:cNvCxnSpPr>
            <a:stCxn id="252" idx="2"/>
            <a:endCxn id="258" idx="0"/>
          </p:cNvCxnSpPr>
          <p:nvPr/>
        </p:nvCxnSpPr>
        <p:spPr>
          <a:xfrm flipH="1">
            <a:off x="2364426" y="3495646"/>
            <a:ext cx="107654" cy="202851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sp>
        <p:nvSpPr>
          <p:cNvPr id="258" name="Rectangle 722"/>
          <p:cNvSpPr>
            <a:spLocks noChangeArrowheads="1"/>
          </p:cNvSpPr>
          <p:nvPr/>
        </p:nvSpPr>
        <p:spPr bwMode="auto">
          <a:xfrm>
            <a:off x="1992273" y="3698497"/>
            <a:ext cx="744304" cy="507128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782" tIns="47891" rIns="95782" bIns="47891" anchor="ctr"/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eaLnBrk="1" hangingPunct="1"/>
            <a:endParaRPr lang="ko-KR" altLang="en-US" sz="1900" b="0">
              <a:solidFill>
                <a:prstClr val="black"/>
              </a:solidFill>
              <a:latin typeface="맑은 고딕" pitchFamily="50" charset="-127"/>
            </a:endParaRPr>
          </a:p>
        </p:txBody>
      </p:sp>
      <p:grpSp>
        <p:nvGrpSpPr>
          <p:cNvPr id="259" name="그룹 291"/>
          <p:cNvGrpSpPr>
            <a:grpSpLocks/>
          </p:cNvGrpSpPr>
          <p:nvPr/>
        </p:nvGrpSpPr>
        <p:grpSpPr bwMode="auto">
          <a:xfrm>
            <a:off x="2255962" y="5672670"/>
            <a:ext cx="1518438" cy="271463"/>
            <a:chOff x="0" y="0"/>
            <a:chExt cx="1032504" cy="234656"/>
          </a:xfrm>
        </p:grpSpPr>
        <p:sp>
          <p:nvSpPr>
            <p:cNvPr id="260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234656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61" name="Text Box 158"/>
            <p:cNvSpPr txBox="1">
              <a:spLocks noChangeArrowheads="1"/>
            </p:cNvSpPr>
            <p:nvPr/>
          </p:nvSpPr>
          <p:spPr bwMode="auto">
            <a:xfrm>
              <a:off x="58808" y="12167"/>
              <a:ext cx="901688" cy="163312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DDC(Backbone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cxnSp>
        <p:nvCxnSpPr>
          <p:cNvPr id="262" name="직선 연결선 261"/>
          <p:cNvCxnSpPr>
            <a:stCxn id="230" idx="2"/>
          </p:cNvCxnSpPr>
          <p:nvPr/>
        </p:nvCxnSpPr>
        <p:spPr>
          <a:xfrm>
            <a:off x="2864368" y="2332739"/>
            <a:ext cx="5966" cy="338242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pic>
        <p:nvPicPr>
          <p:cNvPr id="263" name="Picture 56" descr="Route-Switch_Process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870" y="1543155"/>
            <a:ext cx="259537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73" descr="Multilayer_Switch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734" y="1386698"/>
            <a:ext cx="271469" cy="32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523" descr="netflowroutr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836" y="1437041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7" name="직선 연결선 266"/>
          <p:cNvCxnSpPr/>
          <p:nvPr/>
        </p:nvCxnSpPr>
        <p:spPr>
          <a:xfrm>
            <a:off x="4293336" y="1738183"/>
            <a:ext cx="173024" cy="12481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68" name="직선 연결선 267"/>
          <p:cNvCxnSpPr>
            <a:endCxn id="281" idx="1"/>
          </p:cNvCxnSpPr>
          <p:nvPr/>
        </p:nvCxnSpPr>
        <p:spPr>
          <a:xfrm flipV="1">
            <a:off x="7051451" y="1531728"/>
            <a:ext cx="300822" cy="22855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69" name="직선 연결선 268"/>
          <p:cNvCxnSpPr/>
          <p:nvPr/>
        </p:nvCxnSpPr>
        <p:spPr>
          <a:xfrm flipH="1">
            <a:off x="5571203" y="1560839"/>
            <a:ext cx="542610" cy="15036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270" name="직선 연결선 269"/>
          <p:cNvCxnSpPr>
            <a:stCxn id="265" idx="1"/>
          </p:cNvCxnSpPr>
          <p:nvPr/>
        </p:nvCxnSpPr>
        <p:spPr>
          <a:xfrm flipH="1">
            <a:off x="6257567" y="1555619"/>
            <a:ext cx="282269" cy="5220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71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082" y="2004566"/>
            <a:ext cx="304284" cy="28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2" name="직선 연결선 271"/>
          <p:cNvCxnSpPr>
            <a:stCxn id="326" idx="1"/>
            <a:endCxn id="271" idx="3"/>
          </p:cNvCxnSpPr>
          <p:nvPr/>
        </p:nvCxnSpPr>
        <p:spPr>
          <a:xfrm flipH="1">
            <a:off x="6276366" y="2146947"/>
            <a:ext cx="218024" cy="1554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273" name="Picture 73" descr="Multilayer_Switch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097" y="1396768"/>
            <a:ext cx="271469" cy="32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916" y="2852490"/>
            <a:ext cx="305776" cy="338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5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7035" y="2846523"/>
            <a:ext cx="304284" cy="337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" name="Rectangle 722"/>
          <p:cNvSpPr>
            <a:spLocks noChangeArrowheads="1"/>
          </p:cNvSpPr>
          <p:nvPr/>
        </p:nvSpPr>
        <p:spPr bwMode="auto">
          <a:xfrm>
            <a:off x="8289920" y="2824151"/>
            <a:ext cx="778517" cy="507128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782" tIns="47891" rIns="95782" bIns="47891" anchor="ctr"/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eaLnBrk="1" hangingPunct="1"/>
            <a:endParaRPr lang="ko-KR" altLang="en-US" sz="1900" b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277" name="TextBox 20"/>
          <p:cNvSpPr txBox="1">
            <a:spLocks noChangeArrowheads="1"/>
          </p:cNvSpPr>
          <p:nvPr/>
        </p:nvSpPr>
        <p:spPr bwMode="auto">
          <a:xfrm>
            <a:off x="8227508" y="3164224"/>
            <a:ext cx="915329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kern="0" dirty="0" err="1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Nxm</a:t>
            </a:r>
            <a:r>
              <a:rPr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 App</a:t>
            </a:r>
            <a:endParaRPr lang="ko-KR" altLang="en-US" sz="900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pic>
        <p:nvPicPr>
          <p:cNvPr id="278" name="Picture 22" descr="Network_Cloud_Standard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460" y="1380512"/>
            <a:ext cx="626468" cy="79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9" name="직사각형 7"/>
          <p:cNvSpPr>
            <a:spLocks noChangeArrowheads="1"/>
          </p:cNvSpPr>
          <p:nvPr/>
        </p:nvSpPr>
        <p:spPr bwMode="auto">
          <a:xfrm>
            <a:off x="3702326" y="1542835"/>
            <a:ext cx="581720" cy="511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18000" rIns="18000" bIns="18000">
            <a:spAutoFit/>
          </a:bodyPr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algn="ctr" eaLnBrk="1" hangingPunct="1"/>
            <a:r>
              <a: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전용선</a:t>
            </a:r>
          </a:p>
          <a:p>
            <a:pPr algn="ctr" eaLnBrk="1" hangingPunct="1"/>
            <a:r>
              <a:rPr lang="en-US" altLang="ko-KR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Off-line </a:t>
            </a:r>
          </a:p>
          <a:p>
            <a:pPr algn="ctr" eaLnBrk="1" hangingPunct="1"/>
            <a:r>
              <a:rPr lang="ko-KR" altLang="en-US" dirty="0" err="1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endParaRPr lang="ko-KR" altLang="en-US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80" name="그룹 279"/>
          <p:cNvGrpSpPr/>
          <p:nvPr/>
        </p:nvGrpSpPr>
        <p:grpSpPr>
          <a:xfrm>
            <a:off x="7352273" y="1182705"/>
            <a:ext cx="681693" cy="698047"/>
            <a:chOff x="7464790" y="980728"/>
            <a:chExt cx="725527" cy="742950"/>
          </a:xfrm>
        </p:grpSpPr>
        <p:pic>
          <p:nvPicPr>
            <p:cNvPr id="281" name="Picture 22" descr="Network_Cloud_Standard"/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790" y="980728"/>
              <a:ext cx="725527" cy="742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2" name="직사각형 374"/>
            <p:cNvSpPr>
              <a:spLocks noChangeArrowheads="1"/>
            </p:cNvSpPr>
            <p:nvPr/>
          </p:nvSpPr>
          <p:spPr bwMode="auto">
            <a:xfrm>
              <a:off x="7503814" y="1084287"/>
              <a:ext cx="617538" cy="544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8000" tIns="18000" rIns="18000" bIns="18000">
              <a:spAutoFit/>
            </a:bodyPr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algn="ctr" eaLnBrk="1" hangingPunct="1"/>
              <a:r>
                <a:rPr lang="ko-KR" altLang="en-US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인터넷</a:t>
              </a:r>
            </a:p>
            <a:p>
              <a:pPr algn="ctr" eaLnBrk="1" hangingPunct="1"/>
              <a:r>
                <a:rPr lang="en-US" altLang="ko-KR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On-line </a:t>
              </a:r>
            </a:p>
            <a:p>
              <a:pPr algn="ctr" eaLnBrk="1" hangingPunct="1"/>
              <a:r>
                <a:rPr lang="ko-KR" altLang="en-US" dirty="0" err="1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제휴사</a:t>
              </a:r>
              <a:endParaRPr lang="ko-KR" altLang="en-US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83" name="그룹 282"/>
          <p:cNvGrpSpPr/>
          <p:nvPr/>
        </p:nvGrpSpPr>
        <p:grpSpPr>
          <a:xfrm>
            <a:off x="6277730" y="972932"/>
            <a:ext cx="909870" cy="277429"/>
            <a:chOff x="6380057" y="776761"/>
            <a:chExt cx="968375" cy="295275"/>
          </a:xfrm>
        </p:grpSpPr>
        <p:sp>
          <p:nvSpPr>
            <p:cNvPr id="284" name="직사각형 505" descr="박스2"/>
            <p:cNvSpPr>
              <a:spLocks noChangeArrowheads="1"/>
            </p:cNvSpPr>
            <p:nvPr/>
          </p:nvSpPr>
          <p:spPr bwMode="auto">
            <a:xfrm>
              <a:off x="6380057" y="776761"/>
              <a:ext cx="968375" cy="29527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0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85" name="Text Box 158"/>
            <p:cNvSpPr txBox="1">
              <a:spLocks noChangeArrowheads="1"/>
            </p:cNvSpPr>
            <p:nvPr/>
          </p:nvSpPr>
          <p:spPr bwMode="auto">
            <a:xfrm>
              <a:off x="6435920" y="794190"/>
              <a:ext cx="844396" cy="201081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서초 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IDC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286" name="타원 285"/>
          <p:cNvSpPr/>
          <p:nvPr/>
        </p:nvSpPr>
        <p:spPr>
          <a:xfrm>
            <a:off x="2265294" y="1115049"/>
            <a:ext cx="1250921" cy="1366453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287" name="TextBox 286"/>
          <p:cNvSpPr txBox="1">
            <a:spLocks/>
          </p:cNvSpPr>
          <p:nvPr/>
        </p:nvSpPr>
        <p:spPr>
          <a:xfrm>
            <a:off x="2364425" y="1135192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1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288" name="TextBox 287"/>
          <p:cNvSpPr txBox="1">
            <a:spLocks/>
          </p:cNvSpPr>
          <p:nvPr/>
        </p:nvSpPr>
        <p:spPr>
          <a:xfrm>
            <a:off x="8172141" y="2630797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3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289" name="TextBox 288"/>
          <p:cNvSpPr txBox="1">
            <a:spLocks/>
          </p:cNvSpPr>
          <p:nvPr/>
        </p:nvSpPr>
        <p:spPr>
          <a:xfrm>
            <a:off x="6190091" y="989728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7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grpSp>
        <p:nvGrpSpPr>
          <p:cNvPr id="290" name="그룹 289"/>
          <p:cNvGrpSpPr/>
          <p:nvPr/>
        </p:nvGrpSpPr>
        <p:grpSpPr>
          <a:xfrm>
            <a:off x="2181540" y="4430188"/>
            <a:ext cx="713311" cy="558503"/>
            <a:chOff x="1748672" y="4437112"/>
            <a:chExt cx="759178" cy="594430"/>
          </a:xfrm>
        </p:grpSpPr>
        <p:pic>
          <p:nvPicPr>
            <p:cNvPr id="291" name="Picture 22" descr="Network_Cloud_Standard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4425" y="4514017"/>
              <a:ext cx="733425" cy="517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2" name="TextBox 20"/>
            <p:cNvSpPr txBox="1">
              <a:spLocks noChangeArrowheads="1"/>
            </p:cNvSpPr>
            <p:nvPr/>
          </p:nvSpPr>
          <p:spPr bwMode="auto">
            <a:xfrm>
              <a:off x="1883963" y="4602917"/>
              <a:ext cx="524256" cy="369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SKE</a:t>
              </a:r>
              <a:b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</a:b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SKN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93" name="TextBox 292"/>
            <p:cNvSpPr txBox="1">
              <a:spLocks/>
            </p:cNvSpPr>
            <p:nvPr/>
          </p:nvSpPr>
          <p:spPr>
            <a:xfrm>
              <a:off x="1748672" y="4437112"/>
              <a:ext cx="252000" cy="252000"/>
            </a:xfrm>
            <a:prstGeom prst="rect">
              <a:avLst/>
            </a:prstGeom>
            <a:solidFill>
              <a:sysClr val="windowText" lastClr="000000"/>
            </a:solidFill>
          </p:spPr>
          <p:txBody>
            <a:bodyPr wrap="none" lIns="36000" tIns="36000" rIns="36000" bIns="36000" rtlCol="0" anchor="ctr" anchorCtr="1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</a:rPr>
                <a:t>9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endParaRPr>
            </a:p>
          </p:txBody>
        </p:sp>
      </p:grpSp>
      <p:cxnSp>
        <p:nvCxnSpPr>
          <p:cNvPr id="294" name="직선 연결선 293"/>
          <p:cNvCxnSpPr/>
          <p:nvPr/>
        </p:nvCxnSpPr>
        <p:spPr bwMode="auto">
          <a:xfrm>
            <a:off x="530774" y="6108221"/>
            <a:ext cx="304425" cy="1491"/>
          </a:xfrm>
          <a:prstGeom prst="line">
            <a:avLst/>
          </a:prstGeom>
          <a:noFill/>
          <a:ln w="2222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295" name="TextBox 26"/>
          <p:cNvSpPr txBox="1">
            <a:spLocks noChangeArrowheads="1"/>
          </p:cNvSpPr>
          <p:nvPr/>
        </p:nvSpPr>
        <p:spPr bwMode="auto">
          <a:xfrm>
            <a:off x="919238" y="6018257"/>
            <a:ext cx="690121" cy="202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6" name="직사각형 295"/>
          <p:cNvSpPr/>
          <p:nvPr/>
        </p:nvSpPr>
        <p:spPr bwMode="auto">
          <a:xfrm>
            <a:off x="443516" y="5927541"/>
            <a:ext cx="1287445" cy="532323"/>
          </a:xfrm>
          <a:prstGeom prst="rect">
            <a:avLst/>
          </a:prstGeom>
          <a:noFill/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297" name="직선 연결선 296"/>
          <p:cNvCxnSpPr/>
          <p:nvPr/>
        </p:nvCxnSpPr>
        <p:spPr bwMode="auto">
          <a:xfrm>
            <a:off x="530774" y="6315001"/>
            <a:ext cx="304425" cy="1491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298" name="TextBox 133"/>
          <p:cNvSpPr txBox="1">
            <a:spLocks noChangeArrowheads="1"/>
          </p:cNvSpPr>
          <p:nvPr/>
        </p:nvSpPr>
        <p:spPr bwMode="auto">
          <a:xfrm>
            <a:off x="919238" y="6211588"/>
            <a:ext cx="462692" cy="202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79646">
                  <a:lumMod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9" name="직사각형 298"/>
          <p:cNvSpPr/>
          <p:nvPr/>
        </p:nvSpPr>
        <p:spPr>
          <a:xfrm>
            <a:off x="8282230" y="1855250"/>
            <a:ext cx="1285351" cy="409949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중소형가맹점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/>
              <a:cs typeface="+mn-cs"/>
            </a:endParaRPr>
          </a:p>
        </p:txBody>
      </p:sp>
      <p:sp>
        <p:nvSpPr>
          <p:cNvPr id="300" name="직사각형 299"/>
          <p:cNvSpPr/>
          <p:nvPr/>
        </p:nvSpPr>
        <p:spPr>
          <a:xfrm>
            <a:off x="8275963" y="1167341"/>
            <a:ext cx="1285351" cy="405890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제휴사</a:t>
            </a: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/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가맹점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/Card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rPr>
              <a:t>사</a:t>
            </a:r>
          </a:p>
        </p:txBody>
      </p:sp>
      <p:cxnSp>
        <p:nvCxnSpPr>
          <p:cNvPr id="301" name="꺾인 연결선 300"/>
          <p:cNvCxnSpPr>
            <a:endCxn id="281" idx="2"/>
          </p:cNvCxnSpPr>
          <p:nvPr/>
        </p:nvCxnSpPr>
        <p:spPr>
          <a:xfrm rot="10800000">
            <a:off x="7693121" y="1880753"/>
            <a:ext cx="589114" cy="179476"/>
          </a:xfrm>
          <a:prstGeom prst="bentConnector2">
            <a:avLst/>
          </a:prstGeom>
          <a:noFill/>
          <a:ln w="22225" cap="flat" cmpd="sng" algn="ctr">
            <a:solidFill>
              <a:srgbClr val="4F81BD"/>
            </a:solidFill>
            <a:prstDash val="solid"/>
          </a:ln>
          <a:effectLst/>
        </p:spPr>
      </p:cxnSp>
      <p:pic>
        <p:nvPicPr>
          <p:cNvPr id="302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281" y="3034188"/>
            <a:ext cx="304284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3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579" y="3026730"/>
            <a:ext cx="304284" cy="338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4" name="Rectangle 722"/>
          <p:cNvSpPr>
            <a:spLocks noChangeArrowheads="1"/>
          </p:cNvSpPr>
          <p:nvPr/>
        </p:nvSpPr>
        <p:spPr bwMode="auto">
          <a:xfrm>
            <a:off x="7052681" y="3004357"/>
            <a:ext cx="744304" cy="508619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782" tIns="47891" rIns="95782" bIns="47891" anchor="ctr"/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eaLnBrk="1" hangingPunct="1"/>
            <a:endParaRPr lang="ko-KR" altLang="en-US" sz="1900" b="0">
              <a:solidFill>
                <a:prstClr val="black"/>
              </a:solidFill>
              <a:latin typeface="맑은 고딕" pitchFamily="50" charset="-127"/>
            </a:endParaRPr>
          </a:p>
        </p:txBody>
      </p:sp>
      <p:cxnSp>
        <p:nvCxnSpPr>
          <p:cNvPr id="305" name="직선 연결선 304"/>
          <p:cNvCxnSpPr>
            <a:stCxn id="304" idx="1"/>
            <a:endCxn id="246" idx="3"/>
          </p:cNvCxnSpPr>
          <p:nvPr/>
        </p:nvCxnSpPr>
        <p:spPr>
          <a:xfrm flipH="1">
            <a:off x="6724033" y="3258667"/>
            <a:ext cx="328649" cy="282328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sp>
        <p:nvSpPr>
          <p:cNvPr id="306" name="TextBox 20"/>
          <p:cNvSpPr txBox="1">
            <a:spLocks noChangeArrowheads="1"/>
          </p:cNvSpPr>
          <p:nvPr/>
        </p:nvSpPr>
        <p:spPr bwMode="auto">
          <a:xfrm>
            <a:off x="7142177" y="3336973"/>
            <a:ext cx="542939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WEB FEP</a:t>
            </a:r>
            <a:endParaRPr lang="ko-KR" altLang="en-US" sz="900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sp>
        <p:nvSpPr>
          <p:cNvPr id="307" name="TextBox 306"/>
          <p:cNvSpPr txBox="1">
            <a:spLocks/>
          </p:cNvSpPr>
          <p:nvPr/>
        </p:nvSpPr>
        <p:spPr>
          <a:xfrm>
            <a:off x="6913947" y="2798733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2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308" name="직사각형 307"/>
          <p:cNvSpPr/>
          <p:nvPr/>
        </p:nvSpPr>
        <p:spPr>
          <a:xfrm>
            <a:off x="7049262" y="2773700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통신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lang="ko-KR" altLang="en-US" sz="12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웹망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pic>
        <p:nvPicPr>
          <p:cNvPr id="309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281" y="3925724"/>
            <a:ext cx="304284" cy="337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" name="Picture 63" descr="server_gray_s"/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155" y="3918266"/>
            <a:ext cx="304284" cy="338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1" name="Rectangle 722"/>
          <p:cNvSpPr>
            <a:spLocks noChangeArrowheads="1"/>
          </p:cNvSpPr>
          <p:nvPr/>
        </p:nvSpPr>
        <p:spPr bwMode="auto">
          <a:xfrm>
            <a:off x="7039258" y="3906334"/>
            <a:ext cx="744303" cy="508620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782" tIns="47891" rIns="95782" bIns="47891" anchor="ctr"/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eaLnBrk="1" hangingPunct="1"/>
            <a:endParaRPr lang="ko-KR" altLang="en-US" sz="1900" b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312" name="TextBox 20"/>
          <p:cNvSpPr txBox="1">
            <a:spLocks noChangeArrowheads="1"/>
          </p:cNvSpPr>
          <p:nvPr/>
        </p:nvSpPr>
        <p:spPr bwMode="auto">
          <a:xfrm>
            <a:off x="7143669" y="4238950"/>
            <a:ext cx="542939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kern="0" dirty="0" err="1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Nxm</a:t>
            </a:r>
            <a:r>
              <a:rPr lang="en-US" altLang="ko-KR" sz="900" kern="0" dirty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 FEP</a:t>
            </a:r>
            <a:endParaRPr lang="ko-KR" altLang="en-US" sz="900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sp>
        <p:nvSpPr>
          <p:cNvPr id="313" name="직사각형 312"/>
          <p:cNvSpPr/>
          <p:nvPr/>
        </p:nvSpPr>
        <p:spPr>
          <a:xfrm>
            <a:off x="7067452" y="3685973"/>
            <a:ext cx="1006967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통신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전용선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14" name="직사각형 313"/>
          <p:cNvSpPr/>
          <p:nvPr/>
        </p:nvSpPr>
        <p:spPr>
          <a:xfrm>
            <a:off x="8300082" y="2603479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승인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315" name="그룹 314"/>
          <p:cNvGrpSpPr/>
          <p:nvPr/>
        </p:nvGrpSpPr>
        <p:grpSpPr>
          <a:xfrm>
            <a:off x="7089622" y="4823468"/>
            <a:ext cx="308316" cy="304277"/>
            <a:chOff x="7185248" y="4855691"/>
            <a:chExt cx="461447" cy="368300"/>
          </a:xfrm>
        </p:grpSpPr>
        <p:pic>
          <p:nvPicPr>
            <p:cNvPr id="316" name="Picture 63" descr="server_gray_s"/>
            <p:cNvPicPr>
              <a:picLocks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248" y="4863629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" name="Picture 63" descr="server_gray_s"/>
            <p:cNvPicPr>
              <a:picLocks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2845" y="4855691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8" name="Rectangle 722"/>
          <p:cNvSpPr>
            <a:spLocks noChangeArrowheads="1"/>
          </p:cNvSpPr>
          <p:nvPr/>
        </p:nvSpPr>
        <p:spPr bwMode="auto">
          <a:xfrm>
            <a:off x="7042241" y="4801095"/>
            <a:ext cx="742812" cy="508619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782" tIns="47891" rIns="95782" bIns="47891" anchor="ctr"/>
          <a:lstStyle>
            <a:lvl1pPr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1pPr>
            <a:lvl2pPr marL="742950" indent="-28575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2pPr>
            <a:lvl3pPr marL="11430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3pPr>
            <a:lvl4pPr marL="16002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4pPr>
            <a:lvl5pPr marL="2057400" indent="-228600" eaLnBrk="0" hangingPunct="0"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100" b="1">
                <a:solidFill>
                  <a:schemeClr val="tx1"/>
                </a:solidFill>
                <a:latin typeface="Arial" pitchFamily="34" charset="0"/>
                <a:ea typeface="HY태고딕" pitchFamily="18" charset="-127"/>
              </a:defRPr>
            </a:lvl9pPr>
          </a:lstStyle>
          <a:p>
            <a:pPr eaLnBrk="1" hangingPunct="1"/>
            <a:endParaRPr lang="ko-KR" altLang="en-US" sz="1900" b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319" name="TextBox 20"/>
          <p:cNvSpPr txBox="1">
            <a:spLocks noChangeArrowheads="1"/>
          </p:cNvSpPr>
          <p:nvPr/>
        </p:nvSpPr>
        <p:spPr bwMode="auto">
          <a:xfrm>
            <a:off x="6973628" y="5127745"/>
            <a:ext cx="836781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latinLnBrk="0">
              <a:defRPr/>
            </a:pPr>
            <a:r>
              <a:rPr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cs typeface="HY태고딕"/>
              </a:rPr>
              <a:t>INWEB/WAS</a:t>
            </a:r>
            <a:endParaRPr lang="ko-KR" altLang="en-US" sz="900" kern="0" dirty="0">
              <a:solidFill>
                <a:srgbClr val="000000"/>
              </a:solidFill>
              <a:latin typeface="맑은 고딕" pitchFamily="50" charset="-127"/>
              <a:cs typeface="HY태고딕"/>
            </a:endParaRPr>
          </a:p>
        </p:txBody>
      </p:sp>
      <p:sp>
        <p:nvSpPr>
          <p:cNvPr id="320" name="TextBox 319"/>
          <p:cNvSpPr txBox="1">
            <a:spLocks/>
          </p:cNvSpPr>
          <p:nvPr/>
        </p:nvSpPr>
        <p:spPr>
          <a:xfrm>
            <a:off x="6955701" y="4594829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6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321" name="직사각형 320"/>
          <p:cNvSpPr/>
          <p:nvPr/>
        </p:nvSpPr>
        <p:spPr>
          <a:xfrm>
            <a:off x="7049262" y="4569353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고객상</a:t>
            </a: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담</a:t>
            </a:r>
          </a:p>
        </p:txBody>
      </p:sp>
      <p:sp>
        <p:nvSpPr>
          <p:cNvPr id="322" name="TextBox 321"/>
          <p:cNvSpPr txBox="1">
            <a:spLocks/>
          </p:cNvSpPr>
          <p:nvPr/>
        </p:nvSpPr>
        <p:spPr>
          <a:xfrm>
            <a:off x="1961582" y="3544704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10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grpSp>
        <p:nvGrpSpPr>
          <p:cNvPr id="323" name="그룹 322"/>
          <p:cNvGrpSpPr/>
          <p:nvPr/>
        </p:nvGrpSpPr>
        <p:grpSpPr>
          <a:xfrm>
            <a:off x="6460721" y="1737863"/>
            <a:ext cx="777973" cy="662648"/>
            <a:chOff x="6564278" y="1941778"/>
            <a:chExt cx="827997" cy="705274"/>
          </a:xfrm>
        </p:grpSpPr>
        <p:pic>
          <p:nvPicPr>
            <p:cNvPr id="324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5750" y="2125107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5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400" y="2118757"/>
              <a:ext cx="3238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6" name="Rectangle 722"/>
            <p:cNvSpPr>
              <a:spLocks noChangeArrowheads="1"/>
            </p:cNvSpPr>
            <p:nvPr/>
          </p:nvSpPr>
          <p:spPr bwMode="auto">
            <a:xfrm>
              <a:off x="6600112" y="2107302"/>
              <a:ext cx="792163" cy="53975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  <a:ea typeface="HY태고딕" pitchFamily="18" charset="-127"/>
              </a:endParaRPr>
            </a:p>
          </p:txBody>
        </p:sp>
        <p:sp>
          <p:nvSpPr>
            <p:cNvPr id="327" name="TextBox 20"/>
            <p:cNvSpPr txBox="1">
              <a:spLocks noChangeArrowheads="1"/>
            </p:cNvSpPr>
            <p:nvPr/>
          </p:nvSpPr>
          <p:spPr bwMode="auto">
            <a:xfrm>
              <a:off x="6693775" y="2459727"/>
              <a:ext cx="577850" cy="174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SOI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328" name="TextBox 327"/>
            <p:cNvSpPr txBox="1">
              <a:spLocks/>
            </p:cNvSpPr>
            <p:nvPr/>
          </p:nvSpPr>
          <p:spPr>
            <a:xfrm>
              <a:off x="6564278" y="1941778"/>
              <a:ext cx="252000" cy="252000"/>
            </a:xfrm>
            <a:prstGeom prst="rect">
              <a:avLst/>
            </a:prstGeom>
            <a:solidFill>
              <a:sysClr val="windowText" lastClr="000000"/>
            </a:solidFill>
          </p:spPr>
          <p:txBody>
            <a:bodyPr wrap="none" lIns="36000" tIns="36000" rIns="36000" bIns="36000" rtlCol="0" anchor="ctr" anchorCtr="1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</a:rPr>
                <a:t>11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endParaRPr>
            </a:p>
          </p:txBody>
        </p:sp>
      </p:grpSp>
      <p:cxnSp>
        <p:nvCxnSpPr>
          <p:cNvPr id="329" name="꺾인 연결선 328"/>
          <p:cNvCxnSpPr>
            <a:stCxn id="335" idx="0"/>
            <a:endCxn id="278" idx="0"/>
          </p:cNvCxnSpPr>
          <p:nvPr/>
        </p:nvCxnSpPr>
        <p:spPr>
          <a:xfrm rot="16200000" flipH="1" flipV="1">
            <a:off x="6117257" y="-1136187"/>
            <a:ext cx="391135" cy="4642262"/>
          </a:xfrm>
          <a:prstGeom prst="bentConnector3">
            <a:avLst>
              <a:gd name="adj1" fmla="val -58445"/>
            </a:avLst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330" name="TextBox 329"/>
          <p:cNvSpPr txBox="1">
            <a:spLocks/>
          </p:cNvSpPr>
          <p:nvPr/>
        </p:nvSpPr>
        <p:spPr>
          <a:xfrm>
            <a:off x="3638034" y="1255324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13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grpSp>
        <p:nvGrpSpPr>
          <p:cNvPr id="331" name="그룹 330"/>
          <p:cNvGrpSpPr/>
          <p:nvPr/>
        </p:nvGrpSpPr>
        <p:grpSpPr>
          <a:xfrm>
            <a:off x="425367" y="964607"/>
            <a:ext cx="1289219" cy="556378"/>
            <a:chOff x="92477" y="895729"/>
            <a:chExt cx="1372117" cy="592168"/>
          </a:xfrm>
        </p:grpSpPr>
        <p:sp>
          <p:nvSpPr>
            <p:cNvPr id="332" name="직사각형 331"/>
            <p:cNvSpPr/>
            <p:nvPr/>
          </p:nvSpPr>
          <p:spPr>
            <a:xfrm>
              <a:off x="96594" y="1055897"/>
              <a:ext cx="1368000" cy="432000"/>
            </a:xfrm>
            <a:prstGeom prst="rect">
              <a:avLst/>
            </a:prstGeom>
            <a:solidFill>
              <a:sysClr val="window" lastClr="FFFFFF"/>
            </a:solidFill>
            <a:ln w="1587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외부사용자</a:t>
              </a:r>
              <a:endPara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333" name="직사각형 332"/>
            <p:cNvSpPr/>
            <p:nvPr/>
          </p:nvSpPr>
          <p:spPr>
            <a:xfrm>
              <a:off x="92477" y="895729"/>
              <a:ext cx="782123" cy="21329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/>
                  <a:ea typeface="맑은 고딕"/>
                  <a:cs typeface="+mn-cs"/>
                </a:rPr>
                <a:t>인터넷망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endParaRPr>
            </a:p>
          </p:txBody>
        </p:sp>
      </p:grpSp>
      <p:sp>
        <p:nvSpPr>
          <p:cNvPr id="334" name="직사각형 333"/>
          <p:cNvSpPr/>
          <p:nvPr/>
        </p:nvSpPr>
        <p:spPr>
          <a:xfrm>
            <a:off x="8266522" y="1739758"/>
            <a:ext cx="734870" cy="200399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rPr>
              <a:t>인터넷망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35" name="직사각형 334"/>
          <p:cNvSpPr/>
          <p:nvPr/>
        </p:nvSpPr>
        <p:spPr>
          <a:xfrm>
            <a:off x="8266521" y="989377"/>
            <a:ext cx="734870" cy="200399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rPr>
              <a:t>전용선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pSp>
        <p:nvGrpSpPr>
          <p:cNvPr id="336" name="그룹 335"/>
          <p:cNvGrpSpPr/>
          <p:nvPr/>
        </p:nvGrpSpPr>
        <p:grpSpPr>
          <a:xfrm>
            <a:off x="415925" y="3503576"/>
            <a:ext cx="1294794" cy="559568"/>
            <a:chOff x="82428" y="3836049"/>
            <a:chExt cx="1378050" cy="595564"/>
          </a:xfrm>
        </p:grpSpPr>
        <p:sp>
          <p:nvSpPr>
            <p:cNvPr id="337" name="직사각형 336"/>
            <p:cNvSpPr/>
            <p:nvPr/>
          </p:nvSpPr>
          <p:spPr>
            <a:xfrm>
              <a:off x="92478" y="3999613"/>
              <a:ext cx="1368000" cy="432000"/>
            </a:xfrm>
            <a:prstGeom prst="rect">
              <a:avLst/>
            </a:prstGeom>
            <a:solidFill>
              <a:sysClr val="window" lastClr="FFFFFF"/>
            </a:solidFill>
            <a:ln w="1587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 SKP 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ERP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시스템</a:t>
              </a:r>
              <a:endPara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338" name="직사각형 337"/>
            <p:cNvSpPr/>
            <p:nvPr/>
          </p:nvSpPr>
          <p:spPr>
            <a:xfrm>
              <a:off x="82428" y="3836049"/>
              <a:ext cx="782123" cy="21329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/>
                  <a:ea typeface="맑은 고딕"/>
                  <a:cs typeface="+mn-cs"/>
                </a:rPr>
                <a:t>전용선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endParaRPr>
            </a:p>
          </p:txBody>
        </p:sp>
      </p:grpSp>
      <p:grpSp>
        <p:nvGrpSpPr>
          <p:cNvPr id="339" name="그룹 338"/>
          <p:cNvGrpSpPr/>
          <p:nvPr/>
        </p:nvGrpSpPr>
        <p:grpSpPr>
          <a:xfrm>
            <a:off x="435881" y="4383102"/>
            <a:ext cx="1295081" cy="563403"/>
            <a:chOff x="103667" y="4765290"/>
            <a:chExt cx="1378356" cy="599645"/>
          </a:xfrm>
        </p:grpSpPr>
        <p:sp>
          <p:nvSpPr>
            <p:cNvPr id="340" name="직사각형 339"/>
            <p:cNvSpPr/>
            <p:nvPr/>
          </p:nvSpPr>
          <p:spPr>
            <a:xfrm>
              <a:off x="114023" y="4932935"/>
              <a:ext cx="1368000" cy="432000"/>
            </a:xfrm>
            <a:prstGeom prst="rect">
              <a:avLst/>
            </a:prstGeom>
            <a:solidFill>
              <a:sysClr val="window" lastClr="FFFFFF"/>
            </a:solidFill>
            <a:ln w="1587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SKE LMS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/>
                  <a:cs typeface="+mn-cs"/>
                </a:rPr>
                <a:t>시스템</a:t>
              </a:r>
              <a:endPara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/>
                <a:cs typeface="+mn-cs"/>
              </a:endParaRPr>
            </a:p>
          </p:txBody>
        </p:sp>
        <p:sp>
          <p:nvSpPr>
            <p:cNvPr id="341" name="직사각형 340"/>
            <p:cNvSpPr/>
            <p:nvPr/>
          </p:nvSpPr>
          <p:spPr>
            <a:xfrm>
              <a:off x="103667" y="4765290"/>
              <a:ext cx="782123" cy="21329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/>
                  <a:ea typeface="맑은 고딕"/>
                  <a:cs typeface="+mn-cs"/>
                </a:rPr>
                <a:t>전용선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맑은 고딕"/>
                <a:cs typeface="+mn-cs"/>
              </a:endParaRPr>
            </a:p>
          </p:txBody>
        </p:sp>
      </p:grpSp>
      <p:cxnSp>
        <p:nvCxnSpPr>
          <p:cNvPr id="342" name="직선 연결선 341"/>
          <p:cNvCxnSpPr>
            <a:stCxn id="332" idx="3"/>
            <a:endCxn id="286" idx="1"/>
          </p:cNvCxnSpPr>
          <p:nvPr/>
        </p:nvCxnSpPr>
        <p:spPr>
          <a:xfrm flipV="1">
            <a:off x="1714586" y="1315162"/>
            <a:ext cx="733901" cy="2878"/>
          </a:xfrm>
          <a:prstGeom prst="line">
            <a:avLst/>
          </a:prstGeom>
          <a:noFill/>
          <a:ln w="222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43" name="직선 연결선 342"/>
          <p:cNvCxnSpPr>
            <a:stCxn id="273" idx="2"/>
            <a:endCxn id="271" idx="0"/>
          </p:cNvCxnSpPr>
          <p:nvPr/>
        </p:nvCxnSpPr>
        <p:spPr>
          <a:xfrm>
            <a:off x="6121832" y="1726402"/>
            <a:ext cx="2392" cy="278164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pic>
        <p:nvPicPr>
          <p:cNvPr id="344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477" y="3736383"/>
            <a:ext cx="304284" cy="28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5" name="직선 연결선 344"/>
          <p:cNvCxnSpPr>
            <a:stCxn id="344" idx="2"/>
            <a:endCxn id="226" idx="0"/>
          </p:cNvCxnSpPr>
          <p:nvPr/>
        </p:nvCxnSpPr>
        <p:spPr>
          <a:xfrm>
            <a:off x="3534619" y="4024252"/>
            <a:ext cx="2619" cy="262746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346" name="그룹 345"/>
          <p:cNvGrpSpPr/>
          <p:nvPr/>
        </p:nvGrpSpPr>
        <p:grpSpPr>
          <a:xfrm>
            <a:off x="2550295" y="3314017"/>
            <a:ext cx="986943" cy="1531508"/>
            <a:chOff x="2354040" y="3249141"/>
            <a:chExt cx="1050404" cy="1630026"/>
          </a:xfrm>
        </p:grpSpPr>
        <p:cxnSp>
          <p:nvCxnSpPr>
            <p:cNvPr id="347" name="직선 연결선 346"/>
            <p:cNvCxnSpPr>
              <a:stCxn id="226" idx="2"/>
              <a:endCxn id="395" idx="0"/>
            </p:cNvCxnSpPr>
            <p:nvPr/>
          </p:nvCxnSpPr>
          <p:spPr>
            <a:xfrm flipH="1">
              <a:off x="3398981" y="4437112"/>
              <a:ext cx="5463" cy="442055"/>
            </a:xfrm>
            <a:prstGeom prst="line">
              <a:avLst/>
            </a:prstGeom>
            <a:noFill/>
            <a:ln w="34925" cap="flat" cmpd="dbl" algn="ctr">
              <a:solidFill>
                <a:sysClr val="windowText" lastClr="000000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cxnSp>
          <p:nvCxnSpPr>
            <p:cNvPr id="348" name="직선 연결선 347"/>
            <p:cNvCxnSpPr/>
            <p:nvPr/>
          </p:nvCxnSpPr>
          <p:spPr>
            <a:xfrm flipV="1">
              <a:off x="2354040" y="4312251"/>
              <a:ext cx="4953" cy="200820"/>
            </a:xfrm>
            <a:prstGeom prst="line">
              <a:avLst/>
            </a:prstGeom>
            <a:noFill/>
            <a:ln w="34925" cap="flat" cmpd="dbl" algn="ctr">
              <a:solidFill>
                <a:sysClr val="windowText" lastClr="000000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cxnSp>
          <p:nvCxnSpPr>
            <p:cNvPr id="349" name="직선 연결선 348"/>
            <p:cNvCxnSpPr/>
            <p:nvPr/>
          </p:nvCxnSpPr>
          <p:spPr>
            <a:xfrm flipH="1">
              <a:off x="2358996" y="4312251"/>
              <a:ext cx="618504" cy="0"/>
            </a:xfrm>
            <a:prstGeom prst="line">
              <a:avLst/>
            </a:prstGeom>
            <a:noFill/>
            <a:ln w="34925" cap="flat" cmpd="dbl" algn="ctr">
              <a:solidFill>
                <a:sysClr val="windowText" lastClr="000000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cxnSp>
          <p:nvCxnSpPr>
            <p:cNvPr id="350" name="직선 연결선 349"/>
            <p:cNvCxnSpPr/>
            <p:nvPr/>
          </p:nvCxnSpPr>
          <p:spPr>
            <a:xfrm flipH="1" flipV="1">
              <a:off x="2963212" y="3249141"/>
              <a:ext cx="1" cy="1063110"/>
            </a:xfrm>
            <a:prstGeom prst="line">
              <a:avLst/>
            </a:prstGeom>
            <a:noFill/>
            <a:ln w="34925" cap="flat" cmpd="dbl" algn="ctr">
              <a:solidFill>
                <a:sysClr val="windowText" lastClr="000000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cxnSp>
          <p:nvCxnSpPr>
            <p:cNvPr id="351" name="직선 연결선 350"/>
            <p:cNvCxnSpPr>
              <a:stCxn id="234" idx="1"/>
            </p:cNvCxnSpPr>
            <p:nvPr/>
          </p:nvCxnSpPr>
          <p:spPr>
            <a:xfrm flipH="1" flipV="1">
              <a:off x="2977500" y="3249141"/>
              <a:ext cx="324203" cy="1"/>
            </a:xfrm>
            <a:prstGeom prst="line">
              <a:avLst/>
            </a:prstGeom>
            <a:noFill/>
            <a:ln w="34925" cap="flat" cmpd="dbl" algn="ctr">
              <a:solidFill>
                <a:sysClr val="windowText" lastClr="000000"/>
              </a:solidFill>
              <a:prstDash val="solid"/>
              <a:headEnd type="none" w="sm" len="sm"/>
              <a:tailEnd type="none" w="sm" len="sm"/>
            </a:ln>
            <a:effectLst/>
          </p:spPr>
        </p:cxnSp>
      </p:grpSp>
      <p:pic>
        <p:nvPicPr>
          <p:cNvPr id="352" name="Picture 34" descr="Local_Directo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727" y="4818877"/>
            <a:ext cx="304284" cy="287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3" name="직선 연결선 352"/>
          <p:cNvCxnSpPr>
            <a:stCxn id="352" idx="1"/>
            <a:endCxn id="242" idx="3"/>
          </p:cNvCxnSpPr>
          <p:nvPr/>
        </p:nvCxnSpPr>
        <p:spPr>
          <a:xfrm flipH="1" flipV="1">
            <a:off x="5929840" y="4497960"/>
            <a:ext cx="476887" cy="464852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354" name="직선 연결선 353"/>
          <p:cNvCxnSpPr/>
          <p:nvPr/>
        </p:nvCxnSpPr>
        <p:spPr>
          <a:xfrm flipH="1">
            <a:off x="6683675" y="4971435"/>
            <a:ext cx="338250" cy="0"/>
          </a:xfrm>
          <a:prstGeom prst="line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grpSp>
        <p:nvGrpSpPr>
          <p:cNvPr id="355" name="그룹 354"/>
          <p:cNvGrpSpPr/>
          <p:nvPr/>
        </p:nvGrpSpPr>
        <p:grpSpPr>
          <a:xfrm>
            <a:off x="8215934" y="4390059"/>
            <a:ext cx="915329" cy="513720"/>
            <a:chOff x="9361578" y="3419458"/>
            <a:chExt cx="974186" cy="546766"/>
          </a:xfrm>
        </p:grpSpPr>
        <p:pic>
          <p:nvPicPr>
            <p:cNvPr id="356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49610" y="3443643"/>
              <a:ext cx="325438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7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5729" y="3437293"/>
              <a:ext cx="3238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8" name="TextBox 20"/>
            <p:cNvSpPr txBox="1">
              <a:spLocks noChangeArrowheads="1"/>
            </p:cNvSpPr>
            <p:nvPr/>
          </p:nvSpPr>
          <p:spPr bwMode="auto">
            <a:xfrm>
              <a:off x="9361578" y="3791373"/>
              <a:ext cx="974186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r>
                <a:rPr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cs typeface="HY태고딕"/>
                </a:rPr>
                <a:t>Bat App</a:t>
              </a:r>
              <a:endParaRPr lang="ko-KR" altLang="en-US" sz="900" kern="0" dirty="0">
                <a:solidFill>
                  <a:srgbClr val="000000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359" name="Rectangle 722"/>
            <p:cNvSpPr>
              <a:spLocks noChangeArrowheads="1"/>
            </p:cNvSpPr>
            <p:nvPr/>
          </p:nvSpPr>
          <p:spPr bwMode="auto">
            <a:xfrm>
              <a:off x="9446114" y="3419458"/>
              <a:ext cx="828576" cy="53975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sp>
        <p:nvSpPr>
          <p:cNvPr id="360" name="TextBox 359"/>
          <p:cNvSpPr txBox="1">
            <a:spLocks/>
          </p:cNvSpPr>
          <p:nvPr/>
        </p:nvSpPr>
        <p:spPr>
          <a:xfrm>
            <a:off x="8172141" y="4193810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4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361" name="직사각형 360"/>
          <p:cNvSpPr/>
          <p:nvPr/>
        </p:nvSpPr>
        <p:spPr>
          <a:xfrm>
            <a:off x="8300082" y="4136520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정산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회원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362" name="그룹 361"/>
          <p:cNvGrpSpPr/>
          <p:nvPr/>
        </p:nvGrpSpPr>
        <p:grpSpPr>
          <a:xfrm>
            <a:off x="8223849" y="5169330"/>
            <a:ext cx="915329" cy="513720"/>
            <a:chOff x="9361578" y="3419458"/>
            <a:chExt cx="974186" cy="546766"/>
          </a:xfrm>
        </p:grpSpPr>
        <p:pic>
          <p:nvPicPr>
            <p:cNvPr id="363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77602" y="3443643"/>
              <a:ext cx="325438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4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18323" y="3437293"/>
              <a:ext cx="3238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5" name="TextBox 20"/>
            <p:cNvSpPr txBox="1">
              <a:spLocks noChangeArrowheads="1"/>
            </p:cNvSpPr>
            <p:nvPr/>
          </p:nvSpPr>
          <p:spPr bwMode="auto">
            <a:xfrm>
              <a:off x="9361578" y="3791373"/>
              <a:ext cx="974186" cy="174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r>
                <a:rPr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cs typeface="HY태고딕"/>
                </a:rPr>
                <a:t>MKTG</a:t>
              </a:r>
              <a:endParaRPr lang="ko-KR" altLang="en-US" sz="900" kern="0" dirty="0">
                <a:solidFill>
                  <a:srgbClr val="000000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366" name="Rectangle 722"/>
            <p:cNvSpPr>
              <a:spLocks noChangeArrowheads="1"/>
            </p:cNvSpPr>
            <p:nvPr/>
          </p:nvSpPr>
          <p:spPr bwMode="auto">
            <a:xfrm>
              <a:off x="9446114" y="3419458"/>
              <a:ext cx="828576" cy="53975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sp>
        <p:nvSpPr>
          <p:cNvPr id="367" name="TextBox 366"/>
          <p:cNvSpPr txBox="1">
            <a:spLocks/>
          </p:cNvSpPr>
          <p:nvPr/>
        </p:nvSpPr>
        <p:spPr>
          <a:xfrm>
            <a:off x="8201963" y="4993668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5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sp>
        <p:nvSpPr>
          <p:cNvPr id="368" name="직사각형 367"/>
          <p:cNvSpPr/>
          <p:nvPr/>
        </p:nvSpPr>
        <p:spPr>
          <a:xfrm>
            <a:off x="8329905" y="4936379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마케팅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369" name="그룹 368"/>
          <p:cNvGrpSpPr/>
          <p:nvPr/>
        </p:nvGrpSpPr>
        <p:grpSpPr>
          <a:xfrm>
            <a:off x="8213710" y="3578188"/>
            <a:ext cx="915329" cy="513720"/>
            <a:chOff x="8481392" y="4282063"/>
            <a:chExt cx="974186" cy="546766"/>
          </a:xfrm>
        </p:grpSpPr>
        <p:grpSp>
          <p:nvGrpSpPr>
            <p:cNvPr id="370" name="그룹 369"/>
            <p:cNvGrpSpPr/>
            <p:nvPr/>
          </p:nvGrpSpPr>
          <p:grpSpPr>
            <a:xfrm>
              <a:off x="8481392" y="4282063"/>
              <a:ext cx="974186" cy="546766"/>
              <a:chOff x="9361578" y="3419458"/>
              <a:chExt cx="974186" cy="546766"/>
            </a:xfrm>
          </p:grpSpPr>
          <p:pic>
            <p:nvPicPr>
              <p:cNvPr id="373" name="Picture 63" descr="server_gray_s"/>
              <p:cNvPicPr>
                <a:picLocks noChangeArrowheads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29968" y="3443643"/>
                <a:ext cx="325438" cy="360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4" name="TextBox 20"/>
              <p:cNvSpPr txBox="1">
                <a:spLocks noChangeArrowheads="1"/>
              </p:cNvSpPr>
              <p:nvPr/>
            </p:nvSpPr>
            <p:spPr bwMode="auto">
              <a:xfrm>
                <a:off x="9361578" y="3791373"/>
                <a:ext cx="974186" cy="1748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36000" tIns="18000" rIns="36000" bIns="1800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latinLnBrk="0">
                  <a:defRPr/>
                </a:pPr>
                <a:r>
                  <a:rPr lang="en-US" altLang="ko-KR" sz="900" kern="0" dirty="0" err="1" smtClean="0">
                    <a:solidFill>
                      <a:srgbClr val="000000"/>
                    </a:solidFill>
                    <a:latin typeface="맑은 고딕" pitchFamily="50" charset="-127"/>
                    <a:cs typeface="HY태고딕"/>
                  </a:rPr>
                  <a:t>Nxm</a:t>
                </a:r>
                <a:r>
                  <a:rPr lang="en-US" altLang="ko-KR" sz="900" kern="0" dirty="0" smtClean="0">
                    <a:solidFill>
                      <a:srgbClr val="000000"/>
                    </a:solidFill>
                    <a:latin typeface="맑은 고딕" pitchFamily="50" charset="-127"/>
                    <a:cs typeface="HY태고딕"/>
                  </a:rPr>
                  <a:t> DB</a:t>
                </a:r>
                <a:endParaRPr lang="ko-KR" altLang="en-US" sz="900" kern="0" dirty="0">
                  <a:solidFill>
                    <a:srgbClr val="000000"/>
                  </a:solidFill>
                  <a:latin typeface="맑은 고딕" pitchFamily="50" charset="-127"/>
                  <a:cs typeface="HY태고딕"/>
                </a:endParaRPr>
              </a:p>
            </p:txBody>
          </p:sp>
          <p:sp>
            <p:nvSpPr>
              <p:cNvPr id="375" name="Rectangle 722"/>
              <p:cNvSpPr>
                <a:spLocks noChangeArrowheads="1"/>
              </p:cNvSpPr>
              <p:nvPr/>
            </p:nvSpPr>
            <p:spPr bwMode="auto">
              <a:xfrm>
                <a:off x="9446114" y="3419458"/>
                <a:ext cx="828576" cy="539750"/>
              </a:xfrm>
              <a:prstGeom prst="rect">
                <a:avLst/>
              </a:prstGeom>
              <a:noFill/>
              <a:ln w="9525">
                <a:solidFill>
                  <a:srgbClr val="00B05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95782" tIns="47891" rIns="95782" bIns="47891" anchor="ctr"/>
              <a:lstStyle>
                <a:lvl1pPr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1pPr>
                <a:lvl2pPr marL="742950" indent="-28575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2pPr>
                <a:lvl3pPr marL="11430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3pPr>
                <a:lvl4pPr marL="16002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4pPr>
                <a:lvl5pPr marL="20574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9pPr>
              </a:lstStyle>
              <a:p>
                <a:pPr eaLnBrk="1" hangingPunct="1"/>
                <a:endParaRPr lang="ko-KR" altLang="en-US" sz="1900" b="0">
                  <a:solidFill>
                    <a:prstClr val="black"/>
                  </a:solidFill>
                  <a:latin typeface="맑은 고딕" pitchFamily="50" charset="-127"/>
                </a:endParaRPr>
              </a:p>
            </p:txBody>
          </p:sp>
        </p:grpSp>
        <p:pic>
          <p:nvPicPr>
            <p:cNvPr id="371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1432" y="4303329"/>
              <a:ext cx="3238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2" name="Picture 63" descr="server_gray_s"/>
            <p:cNvPicPr>
              <a:picLocks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0145" y="4299898"/>
              <a:ext cx="3238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6" name="직사각형 375"/>
          <p:cNvSpPr/>
          <p:nvPr/>
        </p:nvSpPr>
        <p:spPr>
          <a:xfrm>
            <a:off x="8323947" y="3347693"/>
            <a:ext cx="863058" cy="260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o-KR" altLang="en-US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통합</a:t>
            </a:r>
            <a:r>
              <a:rPr lang="en-US" altLang="ko-KR" sz="12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DB</a:t>
            </a:r>
            <a:endParaRPr lang="ko-KR" altLang="en-US" sz="12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377" name="꺾인 연결선 376"/>
          <p:cNvCxnSpPr>
            <a:stCxn id="242" idx="2"/>
            <a:endCxn id="366" idx="1"/>
          </p:cNvCxnSpPr>
          <p:nvPr/>
        </p:nvCxnSpPr>
        <p:spPr>
          <a:xfrm rot="16200000" flipH="1">
            <a:off x="6690261" y="3809876"/>
            <a:ext cx="722082" cy="2503952"/>
          </a:xfrm>
          <a:prstGeom prst="bentConnector2">
            <a:avLst/>
          </a:prstGeom>
          <a:noFill/>
          <a:ln w="38100" cap="flat" cmpd="dbl" algn="ctr">
            <a:solidFill>
              <a:sysClr val="windowText" lastClr="000000"/>
            </a:solidFill>
            <a:prstDash val="solid"/>
            <a:headEnd type="none" w="sm" len="sm"/>
            <a:tailEnd type="none" w="sm" len="sm"/>
          </a:ln>
          <a:effectLst/>
        </p:spPr>
      </p:cxnSp>
      <p:cxnSp>
        <p:nvCxnSpPr>
          <p:cNvPr id="378" name="꺾인 연결선 377"/>
          <p:cNvCxnSpPr>
            <a:stCxn id="276" idx="3"/>
            <a:endCxn id="375" idx="3"/>
          </p:cNvCxnSpPr>
          <p:nvPr/>
        </p:nvCxnSpPr>
        <p:spPr>
          <a:xfrm>
            <a:off x="9068436" y="3077714"/>
            <a:ext cx="3219" cy="754038"/>
          </a:xfrm>
          <a:prstGeom prst="bentConnector3">
            <a:avLst>
              <a:gd name="adj1" fmla="val 6772504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79" name="꺾인 연결선 378"/>
          <p:cNvCxnSpPr>
            <a:stCxn id="375" idx="3"/>
            <a:endCxn id="359" idx="3"/>
          </p:cNvCxnSpPr>
          <p:nvPr/>
        </p:nvCxnSpPr>
        <p:spPr>
          <a:xfrm>
            <a:off x="9071655" y="3831752"/>
            <a:ext cx="2224" cy="811871"/>
          </a:xfrm>
          <a:prstGeom prst="bentConnector3">
            <a:avLst>
              <a:gd name="adj1" fmla="val 9757795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80" name="꺾인 연결선 379"/>
          <p:cNvCxnSpPr>
            <a:stCxn id="304" idx="3"/>
            <a:endCxn id="276" idx="1"/>
          </p:cNvCxnSpPr>
          <p:nvPr/>
        </p:nvCxnSpPr>
        <p:spPr>
          <a:xfrm flipV="1">
            <a:off x="7796985" y="3077714"/>
            <a:ext cx="492935" cy="180953"/>
          </a:xfrm>
          <a:prstGeom prst="bentConnector3">
            <a:avLst>
              <a:gd name="adj1" fmla="val 50000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81" name="꺾인 연결선 380"/>
          <p:cNvCxnSpPr>
            <a:stCxn id="311" idx="3"/>
            <a:endCxn id="276" idx="1"/>
          </p:cNvCxnSpPr>
          <p:nvPr/>
        </p:nvCxnSpPr>
        <p:spPr>
          <a:xfrm flipV="1">
            <a:off x="7783560" y="3077714"/>
            <a:ext cx="506360" cy="1082929"/>
          </a:xfrm>
          <a:prstGeom prst="bentConnector3">
            <a:avLst>
              <a:gd name="adj1" fmla="val 53946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82" name="꺾인 연결선 381"/>
          <p:cNvCxnSpPr>
            <a:stCxn id="311" idx="3"/>
            <a:endCxn id="359" idx="1"/>
          </p:cNvCxnSpPr>
          <p:nvPr/>
        </p:nvCxnSpPr>
        <p:spPr>
          <a:xfrm>
            <a:off x="7783560" y="4160644"/>
            <a:ext cx="511803" cy="482979"/>
          </a:xfrm>
          <a:prstGeom prst="bentConnector3">
            <a:avLst>
              <a:gd name="adj1" fmla="val 53904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83" name="꺾인 연결선 382"/>
          <p:cNvCxnSpPr>
            <a:stCxn id="318" idx="3"/>
            <a:endCxn id="359" idx="1"/>
          </p:cNvCxnSpPr>
          <p:nvPr/>
        </p:nvCxnSpPr>
        <p:spPr>
          <a:xfrm flipV="1">
            <a:off x="7785052" y="4643623"/>
            <a:ext cx="510311" cy="411782"/>
          </a:xfrm>
          <a:prstGeom prst="bentConnector3">
            <a:avLst>
              <a:gd name="adj1" fmla="val 53915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84" name="TextBox 383"/>
          <p:cNvSpPr txBox="1">
            <a:spLocks/>
          </p:cNvSpPr>
          <p:nvPr/>
        </p:nvSpPr>
        <p:spPr>
          <a:xfrm>
            <a:off x="8209827" y="836712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12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grpSp>
        <p:nvGrpSpPr>
          <p:cNvPr id="385" name="그룹 384"/>
          <p:cNvGrpSpPr/>
          <p:nvPr/>
        </p:nvGrpSpPr>
        <p:grpSpPr>
          <a:xfrm>
            <a:off x="7439369" y="4822450"/>
            <a:ext cx="314563" cy="304277"/>
            <a:chOff x="7185248" y="4855691"/>
            <a:chExt cx="470797" cy="368300"/>
          </a:xfrm>
        </p:grpSpPr>
        <p:pic>
          <p:nvPicPr>
            <p:cNvPr id="386" name="Picture 63" descr="server_gray_s"/>
            <p:cNvPicPr>
              <a:picLocks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248" y="4863629"/>
              <a:ext cx="323850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7" name="Picture 63" descr="server_gray_s"/>
            <p:cNvPicPr>
              <a:picLocks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2195" y="4855691"/>
              <a:ext cx="323850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88" name="그룹 387"/>
          <p:cNvGrpSpPr/>
          <p:nvPr/>
        </p:nvGrpSpPr>
        <p:grpSpPr>
          <a:xfrm>
            <a:off x="2866920" y="4739920"/>
            <a:ext cx="1381083" cy="840417"/>
            <a:chOff x="2691024" y="4548227"/>
            <a:chExt cx="1469888" cy="894479"/>
          </a:xfrm>
        </p:grpSpPr>
        <p:grpSp>
          <p:nvGrpSpPr>
            <p:cNvPr id="389" name="그룹 388"/>
            <p:cNvGrpSpPr/>
            <p:nvPr/>
          </p:nvGrpSpPr>
          <p:grpSpPr>
            <a:xfrm>
              <a:off x="2851500" y="4548227"/>
              <a:ext cx="943562" cy="652148"/>
              <a:chOff x="2837247" y="4548227"/>
              <a:chExt cx="943562" cy="652148"/>
            </a:xfrm>
          </p:grpSpPr>
          <p:sp>
            <p:nvSpPr>
              <p:cNvPr id="395" name="Rectangle 722"/>
              <p:cNvSpPr>
                <a:spLocks noChangeArrowheads="1"/>
              </p:cNvSpPr>
              <p:nvPr/>
            </p:nvSpPr>
            <p:spPr bwMode="auto">
              <a:xfrm>
                <a:off x="2988647" y="4660625"/>
                <a:ext cx="792162" cy="539750"/>
              </a:xfrm>
              <a:prstGeom prst="rect">
                <a:avLst/>
              </a:prstGeom>
              <a:noFill/>
              <a:ln w="9525">
                <a:solidFill>
                  <a:srgbClr val="00B05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95782" tIns="47891" rIns="95782" bIns="47891" anchor="ctr"/>
              <a:lstStyle>
                <a:lvl1pPr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1pPr>
                <a:lvl2pPr marL="742950" indent="-28575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2pPr>
                <a:lvl3pPr marL="11430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3pPr>
                <a:lvl4pPr marL="16002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4pPr>
                <a:lvl5pPr marL="2057400" indent="-228600" eaLnBrk="0" hangingPunct="0"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100" b="1">
                    <a:solidFill>
                      <a:schemeClr val="tx1"/>
                    </a:solidFill>
                    <a:latin typeface="Arial" pitchFamily="34" charset="0"/>
                    <a:ea typeface="HY태고딕" pitchFamily="18" charset="-127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  <a:ea typeface="HY태고딕" pitchFamily="18" charset="-127"/>
                </a:endParaRPr>
              </a:p>
            </p:txBody>
          </p:sp>
          <p:sp>
            <p:nvSpPr>
              <p:cNvPr id="396" name="TextBox 395"/>
              <p:cNvSpPr txBox="1">
                <a:spLocks/>
              </p:cNvSpPr>
              <p:nvPr/>
            </p:nvSpPr>
            <p:spPr>
              <a:xfrm>
                <a:off x="2837247" y="4548227"/>
                <a:ext cx="252000" cy="252000"/>
              </a:xfrm>
              <a:prstGeom prst="rect">
                <a:avLst/>
              </a:prstGeom>
              <a:solidFill>
                <a:sysClr val="windowText" lastClr="000000"/>
              </a:solidFill>
            </p:spPr>
            <p:txBody>
              <a:bodyPr wrap="none" lIns="36000" tIns="36000" rIns="36000" bIns="36000" rtlCol="0" anchor="ctr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맑은 고딕"/>
                  </a:rPr>
                  <a:t>8</a:t>
                </a:r>
                <a:endParaRPr kumimoji="0" lang="ko-KR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</a:endParaRPr>
              </a:p>
            </p:txBody>
          </p:sp>
        </p:grpSp>
        <p:sp>
          <p:nvSpPr>
            <p:cNvPr id="390" name="직사각형 389"/>
            <p:cNvSpPr/>
            <p:nvPr/>
          </p:nvSpPr>
          <p:spPr>
            <a:xfrm>
              <a:off x="2691024" y="5165707"/>
              <a:ext cx="146988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외부사용자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</a:endParaRPr>
            </a:p>
          </p:txBody>
        </p:sp>
        <p:grpSp>
          <p:nvGrpSpPr>
            <p:cNvPr id="391" name="그룹 390"/>
            <p:cNvGrpSpPr/>
            <p:nvPr/>
          </p:nvGrpSpPr>
          <p:grpSpPr>
            <a:xfrm>
              <a:off x="3152832" y="4711940"/>
              <a:ext cx="503992" cy="327558"/>
              <a:chOff x="7315472" y="4863629"/>
              <a:chExt cx="708737" cy="372517"/>
            </a:xfrm>
          </p:grpSpPr>
          <p:pic>
            <p:nvPicPr>
              <p:cNvPr id="393" name="Picture 63" descr="server_gray_s"/>
              <p:cNvPicPr>
                <a:picLocks noChangeArrowheads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15472" y="4863629"/>
                <a:ext cx="404999" cy="360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" name="Picture 63" descr="server_gray_s"/>
              <p:cNvPicPr>
                <a:picLocks noChangeArrowheads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19210" y="4875783"/>
                <a:ext cx="404999" cy="360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92" name="TextBox 20"/>
            <p:cNvSpPr txBox="1">
              <a:spLocks noChangeArrowheads="1"/>
            </p:cNvSpPr>
            <p:nvPr/>
          </p:nvSpPr>
          <p:spPr bwMode="auto">
            <a:xfrm>
              <a:off x="2936776" y="5028811"/>
              <a:ext cx="890587" cy="174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18000" rIns="36000" bIns="1800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OUTWEB</a:t>
              </a:r>
              <a:endPara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397" name="TextBox 396"/>
          <p:cNvSpPr txBox="1">
            <a:spLocks/>
          </p:cNvSpPr>
          <p:nvPr/>
        </p:nvSpPr>
        <p:spPr>
          <a:xfrm>
            <a:off x="6920503" y="3719827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2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cxnSp>
        <p:nvCxnSpPr>
          <p:cNvPr id="398" name="꺾인 연결선 397"/>
          <p:cNvCxnSpPr>
            <a:stCxn id="291" idx="1"/>
            <a:endCxn id="340" idx="3"/>
          </p:cNvCxnSpPr>
          <p:nvPr/>
        </p:nvCxnSpPr>
        <p:spPr>
          <a:xfrm rot="10800000">
            <a:off x="1730962" y="4743561"/>
            <a:ext cx="474775" cy="2008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cxnSp>
        <p:nvCxnSpPr>
          <p:cNvPr id="399" name="꺾인 연결선 398"/>
          <p:cNvCxnSpPr>
            <a:stCxn id="254" idx="1"/>
            <a:endCxn id="337" idx="3"/>
          </p:cNvCxnSpPr>
          <p:nvPr/>
        </p:nvCxnSpPr>
        <p:spPr>
          <a:xfrm rot="10800000">
            <a:off x="1710720" y="3860200"/>
            <a:ext cx="441089" cy="3115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pic>
        <p:nvPicPr>
          <p:cNvPr id="400" name="Picture 10" descr="Firewall_Vertical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522" y="3368721"/>
            <a:ext cx="199873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1" name="TextBox 400"/>
          <p:cNvSpPr txBox="1">
            <a:spLocks/>
          </p:cNvSpPr>
          <p:nvPr/>
        </p:nvSpPr>
        <p:spPr>
          <a:xfrm>
            <a:off x="8172141" y="3415349"/>
            <a:ext cx="236775" cy="236769"/>
          </a:xfrm>
          <a:prstGeom prst="rect">
            <a:avLst/>
          </a:prstGeom>
          <a:solidFill>
            <a:sysClr val="windowText" lastClr="000000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</a:rPr>
              <a:t>14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</a:endParaRPr>
          </a:p>
        </p:txBody>
      </p:sp>
      <p:cxnSp>
        <p:nvCxnSpPr>
          <p:cNvPr id="402" name="꺾인 연결선 401"/>
          <p:cNvCxnSpPr>
            <a:stCxn id="276" idx="3"/>
            <a:endCxn id="366" idx="3"/>
          </p:cNvCxnSpPr>
          <p:nvPr/>
        </p:nvCxnSpPr>
        <p:spPr>
          <a:xfrm>
            <a:off x="9068436" y="3077714"/>
            <a:ext cx="13358" cy="2345179"/>
          </a:xfrm>
          <a:prstGeom prst="bentConnector3">
            <a:avLst>
              <a:gd name="adj1" fmla="val 1707934"/>
            </a:avLst>
          </a:prstGeom>
          <a:noFill/>
          <a:ln w="38100" cap="flat" cmpd="dbl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03" name="직선 연결선 402"/>
          <p:cNvCxnSpPr/>
          <p:nvPr/>
        </p:nvCxnSpPr>
        <p:spPr>
          <a:xfrm flipV="1">
            <a:off x="5388255" y="1721558"/>
            <a:ext cx="0" cy="1630153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404" name="직선 연결선 403"/>
          <p:cNvCxnSpPr/>
          <p:nvPr/>
        </p:nvCxnSpPr>
        <p:spPr>
          <a:xfrm flipV="1">
            <a:off x="4629323" y="1839791"/>
            <a:ext cx="0" cy="1630153"/>
          </a:xfrm>
          <a:prstGeom prst="line">
            <a:avLst/>
          </a:prstGeom>
          <a:noFill/>
          <a:ln w="47625" cap="flat" cmpd="dbl" algn="ctr">
            <a:solidFill>
              <a:sysClr val="windowText" lastClr="0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47955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794922"/>
              </p:ext>
            </p:extLst>
          </p:nvPr>
        </p:nvGraphicFramePr>
        <p:xfrm>
          <a:off x="179068" y="692696"/>
          <a:ext cx="9526460" cy="5760641"/>
        </p:xfrm>
        <a:graphic>
          <a:graphicData uri="http://schemas.openxmlformats.org/drawingml/2006/table">
            <a:tbl>
              <a:tblPr firstRow="1" bandRow="1"/>
              <a:tblGrid>
                <a:gridCol w="1524563"/>
                <a:gridCol w="842572"/>
                <a:gridCol w="1715063"/>
                <a:gridCol w="444924"/>
                <a:gridCol w="422775"/>
                <a:gridCol w="422775"/>
                <a:gridCol w="422775"/>
                <a:gridCol w="422775"/>
                <a:gridCol w="422775"/>
                <a:gridCol w="422775"/>
                <a:gridCol w="422775"/>
                <a:gridCol w="422775"/>
                <a:gridCol w="422775"/>
                <a:gridCol w="1194363"/>
              </a:tblGrid>
              <a:tr h="46096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 발생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조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z. Impac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6467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제휴사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사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AN/</a:t>
                      </a: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G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중소형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맹점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담실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S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내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별 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채널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8025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KT,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SKB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등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SP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사용자 실적 조회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거래승인 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8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3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-Net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라우터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위치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6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초센터 인터넷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인터넷망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활용 </a:t>
                      </a: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제휴사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/>
                      </a:r>
                      <a:b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</a:b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거래승인 불가  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6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E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MS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시스템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주유소 </a:t>
                      </a: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캐쉬백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거래승인 불가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유소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OS 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행 처리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적립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614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P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RP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시스템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회계용 실적 자료 송신 불가 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6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P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SOI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시스템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거래정보 송신 불가 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고객 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SMS/Push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송신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lang="ko-KR" altLang="en-US" sz="80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고객</a:t>
                      </a:r>
                      <a:r>
                        <a:rPr lang="en-US" altLang="ko-KR" sz="8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lang="ko-KR" altLang="en-US" sz="8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5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i="0" kern="12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제휴사</a:t>
                      </a:r>
                      <a:r>
                        <a:rPr lang="en-US" altLang="ko-KR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lang="ko-KR" altLang="en-US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가맹점</a:t>
                      </a:r>
                      <a:r>
                        <a:rPr lang="en-US" altLang="ko-KR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Card</a:t>
                      </a:r>
                      <a:r>
                        <a:rPr lang="ko-KR" altLang="en-US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사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제휴처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통합 사용 불가 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실적자료 송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수신 불가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통합사용 자동 차단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8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남산 </a:t>
                      </a:r>
                      <a:r>
                        <a:rPr lang="en-US" altLang="ko-KR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NOC </a:t>
                      </a:r>
                      <a:r>
                        <a:rPr lang="ko-KR" altLang="en-US" sz="1000" i="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전용선 장애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6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통신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승인 서버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캐쉬백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거래승인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적립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 </a:t>
                      </a:r>
                      <a:b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</a:b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중요제휴사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VAN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endParaRPr lang="en-US" altLang="ko-KR" sz="10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행 처리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적립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782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산 서버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제휴사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가맹점 처리 불가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거래실적</a:t>
                      </a: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실적마감 자료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송신 불가 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indent="0" algn="l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en-US" altLang="ko-KR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- 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청구 </a:t>
                      </a:r>
                      <a:r>
                        <a:rPr kumimoji="0" lang="ko-KR" altLang="en-US" sz="1000" kern="0" dirty="0" err="1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입지급</a:t>
                      </a:r>
                      <a:r>
                        <a:rPr kumimoji="0" lang="ko-KR" altLang="en-US" sz="1000" kern="0" dirty="0" smtClean="0">
                          <a:solidFill>
                            <a:prstClr val="black"/>
                          </a:solidFill>
                          <a:latin typeface="맑은 고딕" pitchFamily="50" charset="-127"/>
                          <a:ea typeface="맑은 고딕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불가</a:t>
                      </a:r>
                      <a:endParaRPr kumimoji="0" lang="en-US" altLang="ko-KR" sz="1000" kern="0" dirty="0" smtClean="0">
                        <a:solidFill>
                          <a:prstClr val="black"/>
                        </a:solidFill>
                        <a:latin typeface="맑은 고딕" pitchFamily="50" charset="-127"/>
                        <a:ea typeface="맑은 고딕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 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원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카드 처리 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latinLnBrk="1"/>
                      <a:endParaRPr lang="ko-KR" altLang="en-US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-</a:t>
                      </a:r>
                      <a:endParaRPr lang="ko-KR" altLang="en-US" sz="10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34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마케팅 서버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거래정보 송신 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kern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072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담 서버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객 상담 불가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O</a:t>
                      </a:r>
                    </a:p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고객</a:t>
                      </a: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kern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67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사용자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웹서버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장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사용자 실적 조회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</a:p>
                    <a:p>
                      <a:pPr algn="l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거래승인 불가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TextBox 2"/>
          <p:cNvSpPr txBox="1">
            <a:spLocks/>
          </p:cNvSpPr>
          <p:nvPr/>
        </p:nvSpPr>
        <p:spPr>
          <a:xfrm>
            <a:off x="2000911" y="6134174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8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1842142" y="4223255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2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2000911" y="5465303"/>
            <a:ext cx="252000" cy="180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5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000911" y="4841851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4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000911" y="5738597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6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166206" y="4223255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3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2000911" y="2132628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7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2000911" y="2535200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9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2000911" y="2922674"/>
            <a:ext cx="252000" cy="216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10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000911" y="3625925"/>
            <a:ext cx="252000" cy="216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12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000911" y="3282714"/>
            <a:ext cx="252000" cy="216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11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000911" y="3930285"/>
            <a:ext cx="252000" cy="180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13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000911" y="1639433"/>
            <a:ext cx="252000" cy="252000"/>
          </a:xfrm>
          <a:prstGeom prst="rect">
            <a:avLst/>
          </a:prstGeom>
          <a:solidFill>
            <a:schemeClr val="tx1"/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r>
              <a:rPr lang="en-US" altLang="ko-KR" sz="1200" b="1" dirty="0">
                <a:solidFill>
                  <a:prstClr val="white"/>
                </a:solidFill>
                <a:latin typeface="Cambria" panose="02040503050406030204" pitchFamily="18" charset="0"/>
              </a:rPr>
              <a:t>1</a:t>
            </a:r>
            <a:endParaRPr lang="ko-KR" altLang="en-US" sz="12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331808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3/13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K</a:t>
            </a:r>
            <a:r>
              <a:rPr kumimoji="0" lang="ko-KR" altLang="en-US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캐쉬백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를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소지한 고객이 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K</a:t>
            </a:r>
            <a:r>
              <a:rPr kumimoji="0" lang="ko-KR" altLang="en-US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캐쉬백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가맹점을 이용할 때마다 구매금액의 일정률을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로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받고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품구매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를 현금처럼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하거나 현금으로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환 받을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 있는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Point = 1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재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,70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만 고객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5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만개 제휴가맹점을 보유한 국내 최대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2C </a:t>
            </a:r>
            <a:r>
              <a:rPr kumimoji="0" lang="ko-KR" altLang="en-US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일리지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서비스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32" cy="3541095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8"/>
              <a:ext cx="4403460" cy="172819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616471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NXmile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3210612" y="5748979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승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인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722422" y="5748981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회원</a:t>
              </a: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카드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746795" y="5116156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담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753514" y="5086797"/>
              <a:ext cx="2835754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3954707" y="5748791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4" name="꺾인 연결선 153"/>
            <p:cNvCxnSpPr/>
            <p:nvPr/>
          </p:nvCxnSpPr>
          <p:spPr bwMode="auto">
            <a:xfrm rot="5400000">
              <a:off x="1920598" y="5596426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55" name="직사각형 154"/>
            <p:cNvSpPr/>
            <p:nvPr/>
          </p:nvSpPr>
          <p:spPr bwMode="auto">
            <a:xfrm>
              <a:off x="1095062" y="5083286"/>
              <a:ext cx="571582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외부사용자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웹서비스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6" name="직사각형 155"/>
            <p:cNvSpPr/>
            <p:nvPr/>
          </p:nvSpPr>
          <p:spPr bwMode="auto">
            <a:xfrm>
              <a:off x="1116539" y="4392029"/>
              <a:ext cx="528628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-Net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1799559" y="3391542"/>
              <a:ext cx="891770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가맹점</a:t>
              </a:r>
              <a:endPara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ard</a:t>
              </a:r>
              <a:r>
                <a:rPr kumimoji="0" lang="ko-KR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05111" y="3391540"/>
              <a:ext cx="550104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외부</a:t>
              </a:r>
              <a:endPara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9" name="직사각형 158"/>
            <p:cNvSpPr/>
            <p:nvPr/>
          </p:nvSpPr>
          <p:spPr bwMode="auto">
            <a:xfrm>
              <a:off x="3716708" y="3382238"/>
              <a:ext cx="720000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중소형가맹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0" name="직선 화살표 연결선 159"/>
            <p:cNvCxnSpPr>
              <a:stCxn id="158" idx="2"/>
              <a:endCxn id="156" idx="0"/>
            </p:cNvCxnSpPr>
            <p:nvPr/>
          </p:nvCxnSpPr>
          <p:spPr>
            <a:xfrm>
              <a:off x="1380163" y="3706409"/>
              <a:ext cx="690" cy="685620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61" name="직선 화살표 연결선 160"/>
            <p:cNvCxnSpPr>
              <a:stCxn id="157" idx="2"/>
            </p:cNvCxnSpPr>
            <p:nvPr/>
          </p:nvCxnSpPr>
          <p:spPr>
            <a:xfrm>
              <a:off x="2245444" y="3706409"/>
              <a:ext cx="0" cy="684000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2" name="직사각형 161"/>
            <p:cNvSpPr/>
            <p:nvPr/>
          </p:nvSpPr>
          <p:spPr bwMode="auto">
            <a:xfrm>
              <a:off x="2466517" y="5748980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제휴사</a:t>
              </a: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가맹점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3" name="꺾인 연결선 162"/>
            <p:cNvCxnSpPr/>
            <p:nvPr/>
          </p:nvCxnSpPr>
          <p:spPr bwMode="auto">
            <a:xfrm rot="16200000" flipH="1">
              <a:off x="2657764" y="5596426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4" name="직사각형 163"/>
            <p:cNvSpPr/>
            <p:nvPr/>
          </p:nvSpPr>
          <p:spPr bwMode="auto">
            <a:xfrm>
              <a:off x="1753514" y="4392435"/>
              <a:ext cx="1779263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용선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5" name="직사각형 164"/>
            <p:cNvSpPr/>
            <p:nvPr/>
          </p:nvSpPr>
          <p:spPr bwMode="auto">
            <a:xfrm>
              <a:off x="3710459" y="4392935"/>
              <a:ext cx="720000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인터넷망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서초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6" name="꺾인 연결선 165"/>
            <p:cNvCxnSpPr/>
            <p:nvPr/>
          </p:nvCxnSpPr>
          <p:spPr>
            <a:xfrm rot="16200000" flipH="1">
              <a:off x="2480164" y="4919615"/>
              <a:ext cx="334362" cy="0"/>
            </a:xfrm>
            <a:prstGeom prst="bentConnector3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67" name="꺾인 연결선 166"/>
            <p:cNvCxnSpPr/>
            <p:nvPr/>
          </p:nvCxnSpPr>
          <p:spPr>
            <a:xfrm rot="5400000">
              <a:off x="3598286" y="4584509"/>
              <a:ext cx="333862" cy="670714"/>
            </a:xfrm>
            <a:prstGeom prst="bentConnector3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68" name="꺾인 연결선 167"/>
            <p:cNvCxnSpPr/>
            <p:nvPr/>
          </p:nvCxnSpPr>
          <p:spPr bwMode="auto">
            <a:xfrm rot="16200000" flipH="1">
              <a:off x="3395669" y="5596427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4636093" y="3382238"/>
              <a:ext cx="720000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상담실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2812552" y="3382238"/>
              <a:ext cx="721859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주유소</a:t>
              </a:r>
              <a:r>
                <a:rPr kumimoji="0" lang="en-US" altLang="ko-KR" sz="9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POS</a:t>
              </a: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2810918" y="3888672"/>
              <a:ext cx="725127" cy="263177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E LMS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화살표 연결선 171"/>
            <p:cNvCxnSpPr>
              <a:stCxn id="159" idx="2"/>
              <a:endCxn id="165" idx="0"/>
            </p:cNvCxnSpPr>
            <p:nvPr/>
          </p:nvCxnSpPr>
          <p:spPr>
            <a:xfrm flipH="1">
              <a:off x="4070459" y="3712569"/>
              <a:ext cx="0" cy="680366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73" name="직선 화살표 연결선 172"/>
            <p:cNvCxnSpPr/>
            <p:nvPr/>
          </p:nvCxnSpPr>
          <p:spPr>
            <a:xfrm>
              <a:off x="3172664" y="3712569"/>
              <a:ext cx="0" cy="176103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74" name="직선 화살표 연결선 173"/>
            <p:cNvCxnSpPr>
              <a:stCxn id="171" idx="2"/>
            </p:cNvCxnSpPr>
            <p:nvPr/>
          </p:nvCxnSpPr>
          <p:spPr>
            <a:xfrm flipH="1">
              <a:off x="3173481" y="4151849"/>
              <a:ext cx="1" cy="217844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75" name="직사각형 174"/>
            <p:cNvSpPr/>
            <p:nvPr/>
          </p:nvSpPr>
          <p:spPr bwMode="auto">
            <a:xfrm>
              <a:off x="4583746" y="4397971"/>
              <a:ext cx="720000" cy="360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내부망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6" name="직선 화살표 연결선 175"/>
            <p:cNvCxnSpPr>
              <a:stCxn id="156" idx="2"/>
              <a:endCxn id="155" idx="0"/>
            </p:cNvCxnSpPr>
            <p:nvPr/>
          </p:nvCxnSpPr>
          <p:spPr>
            <a:xfrm>
              <a:off x="1380853" y="4752029"/>
              <a:ext cx="0" cy="331257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77" name="직사각형 176"/>
            <p:cNvSpPr/>
            <p:nvPr/>
          </p:nvSpPr>
          <p:spPr bwMode="auto">
            <a:xfrm>
              <a:off x="3211247" y="6248857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마케팅서버</a:t>
              </a:r>
              <a:endPara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KTG)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8" name="꺾인 연결선 177"/>
            <p:cNvCxnSpPr>
              <a:stCxn id="149" idx="2"/>
              <a:endCxn id="177" idx="0"/>
            </p:cNvCxnSpPr>
            <p:nvPr/>
          </p:nvCxnSpPr>
          <p:spPr bwMode="auto">
            <a:xfrm rot="16200000" flipH="1">
              <a:off x="3422347" y="6124600"/>
              <a:ext cx="247878" cy="63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79" name="꺾인 연결선 178"/>
            <p:cNvCxnSpPr/>
            <p:nvPr/>
          </p:nvCxnSpPr>
          <p:spPr>
            <a:xfrm rot="5400000">
              <a:off x="4169006" y="5596426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cxnSp>
          <p:nvCxnSpPr>
            <p:cNvPr id="180" name="꺾인 연결선 179"/>
            <p:cNvCxnSpPr/>
            <p:nvPr/>
          </p:nvCxnSpPr>
          <p:spPr>
            <a:xfrm rot="5400000">
              <a:off x="4962463" y="4937063"/>
              <a:ext cx="358185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181" name="꺾인 연결선 180"/>
            <p:cNvCxnSpPr/>
            <p:nvPr/>
          </p:nvCxnSpPr>
          <p:spPr>
            <a:xfrm rot="5400000">
              <a:off x="4384812" y="4568396"/>
              <a:ext cx="328826" cy="70797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82" name="직사각형 181"/>
            <p:cNvSpPr/>
            <p:nvPr/>
          </p:nvSpPr>
          <p:spPr bwMode="auto">
            <a:xfrm>
              <a:off x="4175246" y="3881322"/>
              <a:ext cx="835839" cy="263177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P ERP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83" name="꺾인 연결선 182"/>
            <p:cNvCxnSpPr/>
            <p:nvPr/>
          </p:nvCxnSpPr>
          <p:spPr>
            <a:xfrm rot="16200000" flipH="1">
              <a:off x="4796785" y="4055970"/>
              <a:ext cx="684000" cy="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none"/>
            </a:ln>
          </p:spPr>
        </p:cxnSp>
        <p:cxnSp>
          <p:nvCxnSpPr>
            <p:cNvPr id="184" name="꺾인 연결선 183"/>
            <p:cNvCxnSpPr>
              <a:stCxn id="182" idx="2"/>
              <a:endCxn id="175" idx="0"/>
            </p:cNvCxnSpPr>
            <p:nvPr/>
          </p:nvCxnSpPr>
          <p:spPr>
            <a:xfrm rot="16200000" flipH="1">
              <a:off x="4641720" y="4095945"/>
              <a:ext cx="253472" cy="35058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X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E</a:t>
              </a:r>
            </a:p>
          </p:txBody>
        </p:sp>
      </p:grp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Product Fault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대응력 강화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항목 지속 확대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0" y="4549949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핵심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에 대한 적기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대응 및 장애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Zero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를 위한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est Coverage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제</a:t>
            </a:r>
            <a:r>
              <a:rPr kumimoji="0" lang="ko-KR" altLang="en-US" sz="11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</a:t>
            </a:r>
            <a:endParaRPr kumimoji="0" lang="en-US" altLang="ko-KR" sz="1100" b="0" i="0" u="sng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민감도 높은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2C/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무중단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서비스로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실시간 </a:t>
            </a:r>
            <a:r>
              <a:rPr kumimoji="0" lang="en-US" altLang="ko-KR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ransaction </a:t>
            </a:r>
            <a:r>
              <a:rPr kumimoji="0" lang="ko-KR" altLang="en-US" sz="11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 강화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24X365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無 중단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핵심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</a:t>
            </a: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캐쉬백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2C </a:t>
            </a: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大고객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3,600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만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5194632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신속한 장애 대응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원격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VDI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환경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135223"/>
              </p:ext>
            </p:extLst>
          </p:nvPr>
        </p:nvGraphicFramePr>
        <p:xfrm>
          <a:off x="5385050" y="1143661"/>
          <a:ext cx="4104454" cy="5358979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6162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b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맹점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b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회원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카드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OK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거래가 가능한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맹점 및 계약 관리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 </a:t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회원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카드 정보 관리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승인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마케팅서버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OK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포인트를 계약에 따라 적립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하고 처리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결과를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SOI(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대고객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App push, SMS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서비스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로 전송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정산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맹점 금액 정산 처리를 위해 실적 제공 및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청구 입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지급 처리 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상담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내부사용자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현업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상담원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운영자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업무 처리를 위한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웹서비스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외부사용자 </a:t>
                      </a:r>
                      <a: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/>
                      </a:r>
                      <a:br>
                        <a:rPr lang="en-US" altLang="ko-KR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ko-KR" altLang="en-US" sz="1000" b="1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웹서비스</a:t>
                      </a:r>
                      <a:r>
                        <a:rPr lang="ko-KR" altLang="en-US" sz="100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외부사용자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(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가맹점주 등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)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에게 실적정보를 제공하고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</a:t>
                      </a:r>
                      <a:b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</a:b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거래승인 요청을 처리하기 위한 </a:t>
                      </a:r>
                      <a:r>
                        <a:rPr lang="ko-KR" altLang="en-US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웹서비스</a:t>
                      </a:r>
                      <a:endParaRPr lang="en-US" altLang="ko-KR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03934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Xmile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KCashbag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관리시스템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08.06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4.1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P </a:t>
                      </a:r>
                      <a:r>
                        <a:rPr lang="ko-KR" altLang="en-US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이마트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상품권 사용 프로세스 개선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‘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 Syrup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Pay </a:t>
                      </a:r>
                      <a:r>
                        <a:rPr lang="ko-KR" altLang="en-US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동 기능 개선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frame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xcore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J2EE, </a:t>
                      </a:r>
                      <a:r>
                        <a:rPr lang="en-US" altLang="ko-KR" sz="1000" b="0" baseline="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platform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TMAX, JEUS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rchant  Interface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발그룹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Cashbag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카드보유 고객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객행복센터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Merchant Product </a:t>
                      </a:r>
                      <a:r>
                        <a:rPr lang="ko-KR" altLang="en-US" sz="10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본부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167957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임재홍 매니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10-8993-7434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엔지니어링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찬원 매니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119-363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I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그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권문성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291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에너지화학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석주호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6524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원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876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안영태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5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8" name="직사각형 597"/>
          <p:cNvSpPr/>
          <p:nvPr/>
        </p:nvSpPr>
        <p:spPr>
          <a:xfrm>
            <a:off x="344488" y="836712"/>
            <a:ext cx="9217025" cy="551338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599" name="Line 9"/>
          <p:cNvSpPr>
            <a:spLocks noChangeShapeType="1"/>
          </p:cNvSpPr>
          <p:nvPr/>
        </p:nvSpPr>
        <p:spPr bwMode="auto">
          <a:xfrm>
            <a:off x="8367713" y="2187674"/>
            <a:ext cx="0" cy="283051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0" name="Line 10"/>
          <p:cNvSpPr>
            <a:spLocks noChangeShapeType="1"/>
          </p:cNvSpPr>
          <p:nvPr/>
        </p:nvSpPr>
        <p:spPr bwMode="auto">
          <a:xfrm>
            <a:off x="1670050" y="2917924"/>
            <a:ext cx="0" cy="24304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1" name="Rectangle 11"/>
          <p:cNvSpPr>
            <a:spLocks noChangeArrowheads="1"/>
          </p:cNvSpPr>
          <p:nvPr/>
        </p:nvSpPr>
        <p:spPr bwMode="auto">
          <a:xfrm>
            <a:off x="1200150" y="3417987"/>
            <a:ext cx="93821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카드발급신청</a:t>
            </a:r>
          </a:p>
        </p:txBody>
      </p:sp>
      <p:sp>
        <p:nvSpPr>
          <p:cNvPr id="602" name="Text Box 12"/>
          <p:cNvSpPr txBox="1">
            <a:spLocks noChangeArrowheads="1"/>
          </p:cNvSpPr>
          <p:nvPr/>
        </p:nvSpPr>
        <p:spPr bwMode="auto">
          <a:xfrm>
            <a:off x="1200150" y="3983137"/>
            <a:ext cx="938213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접수</a:t>
            </a:r>
          </a:p>
        </p:txBody>
      </p:sp>
      <p:sp>
        <p:nvSpPr>
          <p:cNvPr id="603" name="Rectangle 13"/>
          <p:cNvSpPr>
            <a:spLocks noChangeArrowheads="1"/>
          </p:cNvSpPr>
          <p:nvPr/>
        </p:nvSpPr>
        <p:spPr bwMode="auto">
          <a:xfrm>
            <a:off x="1200150" y="4640362"/>
            <a:ext cx="93821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발급정보</a:t>
            </a:r>
          </a:p>
        </p:txBody>
      </p:sp>
      <p:sp>
        <p:nvSpPr>
          <p:cNvPr id="604" name="Line 14"/>
          <p:cNvSpPr>
            <a:spLocks noChangeShapeType="1"/>
          </p:cNvSpPr>
          <p:nvPr/>
        </p:nvSpPr>
        <p:spPr bwMode="auto">
          <a:xfrm>
            <a:off x="1066800" y="5513487"/>
            <a:ext cx="2682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5" name="Line 15"/>
          <p:cNvSpPr>
            <a:spLocks noChangeShapeType="1"/>
          </p:cNvSpPr>
          <p:nvPr/>
        </p:nvSpPr>
        <p:spPr bwMode="auto">
          <a:xfrm>
            <a:off x="1066800" y="2762349"/>
            <a:ext cx="33496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6" name="Line 16"/>
          <p:cNvSpPr>
            <a:spLocks noChangeShapeType="1"/>
          </p:cNvSpPr>
          <p:nvPr/>
        </p:nvSpPr>
        <p:spPr bwMode="auto">
          <a:xfrm>
            <a:off x="1066800" y="2762349"/>
            <a:ext cx="0" cy="275113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7" name="Rectangle 17"/>
          <p:cNvSpPr>
            <a:spLocks noChangeArrowheads="1"/>
          </p:cNvSpPr>
          <p:nvPr/>
        </p:nvSpPr>
        <p:spPr bwMode="auto">
          <a:xfrm>
            <a:off x="865188" y="3044924"/>
            <a:ext cx="73660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발급카드</a:t>
            </a:r>
          </a:p>
        </p:txBody>
      </p:sp>
      <p:sp>
        <p:nvSpPr>
          <p:cNvPr id="608" name="Line 18"/>
          <p:cNvSpPr>
            <a:spLocks noChangeShapeType="1"/>
          </p:cNvSpPr>
          <p:nvPr/>
        </p:nvSpPr>
        <p:spPr bwMode="auto">
          <a:xfrm>
            <a:off x="1936750" y="2198787"/>
            <a:ext cx="16748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9" name="Rectangle 19"/>
          <p:cNvSpPr>
            <a:spLocks noChangeArrowheads="1"/>
          </p:cNvSpPr>
          <p:nvPr/>
        </p:nvSpPr>
        <p:spPr bwMode="auto">
          <a:xfrm>
            <a:off x="1066800" y="2062262"/>
            <a:ext cx="180816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현금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신용카드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매출</a:t>
            </a:r>
          </a:p>
        </p:txBody>
      </p:sp>
      <p:sp>
        <p:nvSpPr>
          <p:cNvPr id="610" name="Line 20"/>
          <p:cNvSpPr>
            <a:spLocks noChangeShapeType="1"/>
          </p:cNvSpPr>
          <p:nvPr/>
        </p:nvSpPr>
        <p:spPr bwMode="auto">
          <a:xfrm flipV="1">
            <a:off x="4684713" y="2187674"/>
            <a:ext cx="3348037" cy="158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1" name="Rectangle 21"/>
          <p:cNvSpPr>
            <a:spLocks noChangeArrowheads="1"/>
          </p:cNvSpPr>
          <p:nvPr/>
        </p:nvSpPr>
        <p:spPr bwMode="auto">
          <a:xfrm>
            <a:off x="6157913" y="2044799"/>
            <a:ext cx="60325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</a:p>
        </p:txBody>
      </p:sp>
      <p:sp>
        <p:nvSpPr>
          <p:cNvPr id="612" name="Text Box 22"/>
          <p:cNvSpPr txBox="1">
            <a:spLocks noChangeArrowheads="1"/>
          </p:cNvSpPr>
          <p:nvPr/>
        </p:nvSpPr>
        <p:spPr bwMode="auto">
          <a:xfrm>
            <a:off x="7832725" y="3532287"/>
            <a:ext cx="1004888" cy="263791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3" name="Rectangle 23"/>
          <p:cNvSpPr>
            <a:spLocks noChangeArrowheads="1"/>
          </p:cNvSpPr>
          <p:nvPr/>
        </p:nvSpPr>
        <p:spPr bwMode="auto">
          <a:xfrm>
            <a:off x="7766050" y="4381599"/>
            <a:ext cx="1271588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분류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처리</a:t>
            </a:r>
          </a:p>
        </p:txBody>
      </p:sp>
      <p:sp>
        <p:nvSpPr>
          <p:cNvPr id="614" name="Rectangle 24"/>
          <p:cNvSpPr>
            <a:spLocks noChangeArrowheads="1"/>
          </p:cNvSpPr>
          <p:nvPr/>
        </p:nvSpPr>
        <p:spPr bwMode="auto">
          <a:xfrm>
            <a:off x="8067675" y="2822674"/>
            <a:ext cx="60166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</a:p>
        </p:txBody>
      </p:sp>
      <p:sp>
        <p:nvSpPr>
          <p:cNvPr id="615" name="AutoShape 25"/>
          <p:cNvSpPr>
            <a:spLocks noChangeArrowheads="1"/>
          </p:cNvSpPr>
          <p:nvPr/>
        </p:nvSpPr>
        <p:spPr bwMode="auto">
          <a:xfrm>
            <a:off x="3622675" y="2044799"/>
            <a:ext cx="113030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</a:t>
            </a:r>
          </a:p>
        </p:txBody>
      </p:sp>
      <p:sp>
        <p:nvSpPr>
          <p:cNvPr id="616" name="AutoShape 26"/>
          <p:cNvSpPr>
            <a:spLocks noChangeArrowheads="1"/>
          </p:cNvSpPr>
          <p:nvPr/>
        </p:nvSpPr>
        <p:spPr bwMode="auto">
          <a:xfrm>
            <a:off x="1266825" y="5348387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카드</a:t>
            </a:r>
            <a:endParaRPr kumimoji="0"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작사</a:t>
            </a:r>
            <a:endParaRPr kumimoji="0"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7" name="Line 27"/>
          <p:cNvSpPr>
            <a:spLocks noChangeShapeType="1"/>
          </p:cNvSpPr>
          <p:nvPr/>
        </p:nvSpPr>
        <p:spPr bwMode="auto">
          <a:xfrm>
            <a:off x="4616450" y="2363887"/>
            <a:ext cx="0" cy="212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8" name="Line 28"/>
          <p:cNvSpPr>
            <a:spLocks noChangeShapeType="1"/>
          </p:cNvSpPr>
          <p:nvPr/>
        </p:nvSpPr>
        <p:spPr bwMode="auto">
          <a:xfrm flipV="1">
            <a:off x="8156575" y="2281337"/>
            <a:ext cx="0" cy="2825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9" name="Line 29"/>
          <p:cNvSpPr>
            <a:spLocks noChangeShapeType="1"/>
          </p:cNvSpPr>
          <p:nvPr/>
        </p:nvSpPr>
        <p:spPr bwMode="auto">
          <a:xfrm>
            <a:off x="4616450" y="2563912"/>
            <a:ext cx="35512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0" name="Text Box 30"/>
          <p:cNvSpPr txBox="1">
            <a:spLocks noChangeArrowheads="1"/>
          </p:cNvSpPr>
          <p:nvPr/>
        </p:nvSpPr>
        <p:spPr bwMode="auto">
          <a:xfrm>
            <a:off x="8032750" y="2057499"/>
            <a:ext cx="738188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승인</a:t>
            </a:r>
          </a:p>
        </p:txBody>
      </p:sp>
      <p:sp>
        <p:nvSpPr>
          <p:cNvPr id="621" name="Rectangle 31"/>
          <p:cNvSpPr>
            <a:spLocks noChangeArrowheads="1"/>
          </p:cNvSpPr>
          <p:nvPr/>
        </p:nvSpPr>
        <p:spPr bwMode="auto">
          <a:xfrm>
            <a:off x="6157913" y="2422624"/>
            <a:ext cx="60325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승인정보</a:t>
            </a:r>
          </a:p>
        </p:txBody>
      </p:sp>
      <p:sp>
        <p:nvSpPr>
          <p:cNvPr id="622" name="Line 32"/>
          <p:cNvSpPr>
            <a:spLocks noChangeShapeType="1"/>
          </p:cNvSpPr>
          <p:nvPr/>
        </p:nvSpPr>
        <p:spPr bwMode="auto">
          <a:xfrm>
            <a:off x="4214813" y="2398812"/>
            <a:ext cx="0" cy="2667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3" name="Rectangle 33"/>
          <p:cNvSpPr>
            <a:spLocks noChangeArrowheads="1"/>
          </p:cNvSpPr>
          <p:nvPr/>
        </p:nvSpPr>
        <p:spPr bwMode="auto">
          <a:xfrm>
            <a:off x="3857625" y="3225899"/>
            <a:ext cx="703263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가입신청</a:t>
            </a:r>
          </a:p>
        </p:txBody>
      </p:sp>
      <p:sp>
        <p:nvSpPr>
          <p:cNvPr id="624" name="Text Box 34"/>
          <p:cNvSpPr txBox="1">
            <a:spLocks noChangeArrowheads="1"/>
          </p:cNvSpPr>
          <p:nvPr/>
        </p:nvSpPr>
        <p:spPr bwMode="auto">
          <a:xfrm>
            <a:off x="3746500" y="4357787"/>
            <a:ext cx="938213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접수/심사</a:t>
            </a:r>
          </a:p>
        </p:txBody>
      </p:sp>
      <p:sp>
        <p:nvSpPr>
          <p:cNvPr id="625" name="Line 35"/>
          <p:cNvSpPr>
            <a:spLocks noChangeShapeType="1"/>
          </p:cNvSpPr>
          <p:nvPr/>
        </p:nvSpPr>
        <p:spPr bwMode="auto">
          <a:xfrm>
            <a:off x="3879850" y="2374999"/>
            <a:ext cx="0" cy="366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6" name="Line 36"/>
          <p:cNvSpPr>
            <a:spLocks noChangeShapeType="1"/>
          </p:cNvSpPr>
          <p:nvPr/>
        </p:nvSpPr>
        <p:spPr bwMode="auto">
          <a:xfrm>
            <a:off x="3544888" y="2871887"/>
            <a:ext cx="0" cy="2406650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7" name="Line 37"/>
          <p:cNvSpPr>
            <a:spLocks noChangeShapeType="1"/>
          </p:cNvSpPr>
          <p:nvPr/>
        </p:nvSpPr>
        <p:spPr bwMode="auto">
          <a:xfrm>
            <a:off x="3544888" y="5261074"/>
            <a:ext cx="4016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8" name="Line 38"/>
          <p:cNvSpPr>
            <a:spLocks noChangeShapeType="1"/>
          </p:cNvSpPr>
          <p:nvPr/>
        </p:nvSpPr>
        <p:spPr bwMode="auto">
          <a:xfrm>
            <a:off x="3411538" y="2729012"/>
            <a:ext cx="4683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9" name="Line 39"/>
          <p:cNvSpPr>
            <a:spLocks noChangeShapeType="1"/>
          </p:cNvSpPr>
          <p:nvPr/>
        </p:nvSpPr>
        <p:spPr bwMode="auto">
          <a:xfrm>
            <a:off x="6894513" y="3783112"/>
            <a:ext cx="0" cy="9191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0" name="Line 40"/>
          <p:cNvSpPr>
            <a:spLocks noChangeShapeType="1"/>
          </p:cNvSpPr>
          <p:nvPr/>
        </p:nvSpPr>
        <p:spPr bwMode="auto">
          <a:xfrm>
            <a:off x="6426200" y="3948212"/>
            <a:ext cx="0" cy="9191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1" name="Rectangle 41"/>
          <p:cNvSpPr>
            <a:spLocks noChangeArrowheads="1"/>
          </p:cNvSpPr>
          <p:nvPr/>
        </p:nvSpPr>
        <p:spPr bwMode="auto">
          <a:xfrm>
            <a:off x="5822950" y="4159349"/>
            <a:ext cx="80327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</a:p>
        </p:txBody>
      </p:sp>
      <p:sp>
        <p:nvSpPr>
          <p:cNvPr id="632" name="Rectangle 42"/>
          <p:cNvSpPr>
            <a:spLocks noChangeArrowheads="1"/>
          </p:cNvSpPr>
          <p:nvPr/>
        </p:nvSpPr>
        <p:spPr bwMode="auto">
          <a:xfrm>
            <a:off x="6692900" y="4159349"/>
            <a:ext cx="804863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지급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</a:p>
        </p:txBody>
      </p:sp>
      <p:sp>
        <p:nvSpPr>
          <p:cNvPr id="633" name="Line 43"/>
          <p:cNvSpPr>
            <a:spLocks noChangeShapeType="1"/>
          </p:cNvSpPr>
          <p:nvPr/>
        </p:nvSpPr>
        <p:spPr bwMode="auto">
          <a:xfrm>
            <a:off x="4281488" y="2398812"/>
            <a:ext cx="0" cy="5667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4" name="Line 44"/>
          <p:cNvSpPr>
            <a:spLocks noChangeShapeType="1"/>
          </p:cNvSpPr>
          <p:nvPr/>
        </p:nvSpPr>
        <p:spPr bwMode="auto">
          <a:xfrm>
            <a:off x="4281488" y="2965549"/>
            <a:ext cx="669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5" name="Line 45"/>
          <p:cNvSpPr>
            <a:spLocks noChangeShapeType="1"/>
          </p:cNvSpPr>
          <p:nvPr/>
        </p:nvSpPr>
        <p:spPr bwMode="auto">
          <a:xfrm>
            <a:off x="4951413" y="2965549"/>
            <a:ext cx="0" cy="1949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6" name="Line 46"/>
          <p:cNvSpPr>
            <a:spLocks noChangeShapeType="1"/>
          </p:cNvSpPr>
          <p:nvPr/>
        </p:nvSpPr>
        <p:spPr bwMode="auto">
          <a:xfrm>
            <a:off x="4951413" y="4914999"/>
            <a:ext cx="1339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7" name="Line 47"/>
          <p:cNvSpPr>
            <a:spLocks noChangeShapeType="1"/>
          </p:cNvSpPr>
          <p:nvPr/>
        </p:nvSpPr>
        <p:spPr bwMode="auto">
          <a:xfrm>
            <a:off x="4349750" y="2363887"/>
            <a:ext cx="0" cy="5302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8" name="Line 48"/>
          <p:cNvSpPr>
            <a:spLocks noChangeShapeType="1"/>
          </p:cNvSpPr>
          <p:nvPr/>
        </p:nvSpPr>
        <p:spPr bwMode="auto">
          <a:xfrm>
            <a:off x="4349750" y="2894112"/>
            <a:ext cx="11382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9" name="Line 49"/>
          <p:cNvSpPr>
            <a:spLocks noChangeShapeType="1"/>
          </p:cNvSpPr>
          <p:nvPr/>
        </p:nvSpPr>
        <p:spPr bwMode="auto">
          <a:xfrm>
            <a:off x="5487988" y="2894112"/>
            <a:ext cx="0" cy="19510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0" name="Line 50"/>
          <p:cNvSpPr>
            <a:spLocks noChangeShapeType="1"/>
          </p:cNvSpPr>
          <p:nvPr/>
        </p:nvSpPr>
        <p:spPr bwMode="auto">
          <a:xfrm>
            <a:off x="5487988" y="4845149"/>
            <a:ext cx="8699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1" name="Rectangle 51"/>
          <p:cNvSpPr>
            <a:spLocks noChangeArrowheads="1"/>
          </p:cNvSpPr>
          <p:nvPr/>
        </p:nvSpPr>
        <p:spPr bwMode="auto">
          <a:xfrm>
            <a:off x="4684713" y="3319562"/>
            <a:ext cx="534987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입금</a:t>
            </a:r>
          </a:p>
        </p:txBody>
      </p:sp>
      <p:sp>
        <p:nvSpPr>
          <p:cNvPr id="642" name="Rectangle 52"/>
          <p:cNvSpPr>
            <a:spLocks noChangeArrowheads="1"/>
          </p:cNvSpPr>
          <p:nvPr/>
        </p:nvSpPr>
        <p:spPr bwMode="auto">
          <a:xfrm>
            <a:off x="5241925" y="3956149"/>
            <a:ext cx="53657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지급</a:t>
            </a:r>
          </a:p>
        </p:txBody>
      </p:sp>
      <p:sp>
        <p:nvSpPr>
          <p:cNvPr id="643" name="Line 53"/>
          <p:cNvSpPr>
            <a:spLocks noChangeShapeType="1"/>
          </p:cNvSpPr>
          <p:nvPr/>
        </p:nvSpPr>
        <p:spPr bwMode="auto">
          <a:xfrm>
            <a:off x="4483100" y="2363887"/>
            <a:ext cx="0" cy="425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4" name="Line 54"/>
          <p:cNvSpPr>
            <a:spLocks noChangeShapeType="1"/>
          </p:cNvSpPr>
          <p:nvPr/>
        </p:nvSpPr>
        <p:spPr bwMode="auto">
          <a:xfrm>
            <a:off x="4483100" y="2789337"/>
            <a:ext cx="12049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5" name="Line 55"/>
          <p:cNvSpPr>
            <a:spLocks noChangeShapeType="1"/>
          </p:cNvSpPr>
          <p:nvPr/>
        </p:nvSpPr>
        <p:spPr bwMode="auto">
          <a:xfrm>
            <a:off x="6692900" y="2824262"/>
            <a:ext cx="0" cy="814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6" name="Rectangle 56"/>
          <p:cNvSpPr>
            <a:spLocks noChangeArrowheads="1"/>
          </p:cNvSpPr>
          <p:nvPr/>
        </p:nvSpPr>
        <p:spPr bwMode="auto">
          <a:xfrm>
            <a:off x="5867400" y="3024287"/>
            <a:ext cx="1674813" cy="2841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사용금액 지급요청</a:t>
            </a:r>
          </a:p>
        </p:txBody>
      </p:sp>
      <p:sp>
        <p:nvSpPr>
          <p:cNvPr id="647" name="Line 57"/>
          <p:cNvSpPr>
            <a:spLocks noChangeShapeType="1"/>
          </p:cNvSpPr>
          <p:nvPr/>
        </p:nvSpPr>
        <p:spPr bwMode="auto">
          <a:xfrm>
            <a:off x="8367713" y="5337274"/>
            <a:ext cx="0" cy="6715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8" name="Line 58"/>
          <p:cNvSpPr>
            <a:spLocks noChangeShapeType="1"/>
          </p:cNvSpPr>
          <p:nvPr/>
        </p:nvSpPr>
        <p:spPr bwMode="auto">
          <a:xfrm>
            <a:off x="5822950" y="6008787"/>
            <a:ext cx="25447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9" name="Rectangle 59"/>
          <p:cNvSpPr>
            <a:spLocks noChangeArrowheads="1"/>
          </p:cNvSpPr>
          <p:nvPr/>
        </p:nvSpPr>
        <p:spPr bwMode="auto">
          <a:xfrm>
            <a:off x="6426200" y="5867499"/>
            <a:ext cx="147320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인별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카드별포인트생성</a:t>
            </a:r>
          </a:p>
        </p:txBody>
      </p:sp>
      <p:sp>
        <p:nvSpPr>
          <p:cNvPr id="650" name="Line 60"/>
          <p:cNvSpPr>
            <a:spLocks noChangeShapeType="1"/>
          </p:cNvSpPr>
          <p:nvPr/>
        </p:nvSpPr>
        <p:spPr bwMode="auto">
          <a:xfrm>
            <a:off x="5610225" y="5596037"/>
            <a:ext cx="0" cy="2841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1" name="Line 61"/>
          <p:cNvSpPr>
            <a:spLocks noChangeShapeType="1"/>
          </p:cNvSpPr>
          <p:nvPr/>
        </p:nvSpPr>
        <p:spPr bwMode="auto">
          <a:xfrm>
            <a:off x="5621338" y="5596037"/>
            <a:ext cx="24796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2" name="Line 62"/>
          <p:cNvSpPr>
            <a:spLocks noChangeShapeType="1"/>
          </p:cNvSpPr>
          <p:nvPr/>
        </p:nvSpPr>
        <p:spPr bwMode="auto">
          <a:xfrm flipV="1">
            <a:off x="8101013" y="5313462"/>
            <a:ext cx="0" cy="2825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3" name="Rectangle 63"/>
          <p:cNvSpPr>
            <a:spLocks noChangeArrowheads="1"/>
          </p:cNvSpPr>
          <p:nvPr/>
        </p:nvSpPr>
        <p:spPr bwMode="auto">
          <a:xfrm>
            <a:off x="6426200" y="5419824"/>
            <a:ext cx="80327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Cashbag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요청</a:t>
            </a:r>
          </a:p>
        </p:txBody>
      </p:sp>
      <p:sp>
        <p:nvSpPr>
          <p:cNvPr id="654" name="Line 64"/>
          <p:cNvSpPr>
            <a:spLocks noChangeShapeType="1"/>
          </p:cNvSpPr>
          <p:nvPr/>
        </p:nvSpPr>
        <p:spPr bwMode="auto">
          <a:xfrm>
            <a:off x="5499100" y="5396012"/>
            <a:ext cx="0" cy="4333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5" name="Line 65"/>
          <p:cNvSpPr>
            <a:spLocks noChangeShapeType="1"/>
          </p:cNvSpPr>
          <p:nvPr/>
        </p:nvSpPr>
        <p:spPr bwMode="auto">
          <a:xfrm>
            <a:off x="5822950" y="5337274"/>
            <a:ext cx="8699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6" name="Line 66"/>
          <p:cNvSpPr>
            <a:spLocks noChangeShapeType="1"/>
          </p:cNvSpPr>
          <p:nvPr/>
        </p:nvSpPr>
        <p:spPr bwMode="auto">
          <a:xfrm>
            <a:off x="6692900" y="4791174"/>
            <a:ext cx="0" cy="5572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57" name="AutoShape 67"/>
          <p:cNvSpPr>
            <a:spLocks noChangeArrowheads="1"/>
          </p:cNvSpPr>
          <p:nvPr/>
        </p:nvSpPr>
        <p:spPr bwMode="auto">
          <a:xfrm>
            <a:off x="6280150" y="4702274"/>
            <a:ext cx="771525" cy="31591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금결원</a:t>
            </a:r>
          </a:p>
        </p:txBody>
      </p:sp>
      <p:sp>
        <p:nvSpPr>
          <p:cNvPr id="658" name="Rectangle 68"/>
          <p:cNvSpPr>
            <a:spLocks noChangeArrowheads="1"/>
          </p:cNvSpPr>
          <p:nvPr/>
        </p:nvSpPr>
        <p:spPr bwMode="auto">
          <a:xfrm>
            <a:off x="5086350" y="5207099"/>
            <a:ext cx="80327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현금지급</a:t>
            </a:r>
          </a:p>
        </p:txBody>
      </p:sp>
      <p:sp>
        <p:nvSpPr>
          <p:cNvPr id="659" name="Line 69"/>
          <p:cNvSpPr>
            <a:spLocks noChangeShapeType="1"/>
          </p:cNvSpPr>
          <p:nvPr/>
        </p:nvSpPr>
        <p:spPr bwMode="auto">
          <a:xfrm>
            <a:off x="4014788" y="2374999"/>
            <a:ext cx="0" cy="4968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0" name="Line 70"/>
          <p:cNvSpPr>
            <a:spLocks noChangeShapeType="1"/>
          </p:cNvSpPr>
          <p:nvPr/>
        </p:nvSpPr>
        <p:spPr bwMode="auto">
          <a:xfrm>
            <a:off x="3544888" y="2859187"/>
            <a:ext cx="4699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1" name="Line 71"/>
          <p:cNvSpPr>
            <a:spLocks noChangeShapeType="1"/>
          </p:cNvSpPr>
          <p:nvPr/>
        </p:nvSpPr>
        <p:spPr bwMode="auto">
          <a:xfrm>
            <a:off x="3411538" y="2729012"/>
            <a:ext cx="0" cy="3257550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2" name="Line 72"/>
          <p:cNvSpPr>
            <a:spLocks noChangeShapeType="1"/>
          </p:cNvSpPr>
          <p:nvPr/>
        </p:nvSpPr>
        <p:spPr bwMode="auto">
          <a:xfrm>
            <a:off x="3411538" y="5986562"/>
            <a:ext cx="19415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3" name="AutoShape 73"/>
          <p:cNvSpPr>
            <a:spLocks noChangeArrowheads="1"/>
          </p:cNvSpPr>
          <p:nvPr/>
        </p:nvSpPr>
        <p:spPr bwMode="auto">
          <a:xfrm>
            <a:off x="5319713" y="5835749"/>
            <a:ext cx="50800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</a:p>
        </p:txBody>
      </p:sp>
      <p:sp>
        <p:nvSpPr>
          <p:cNvPr id="664" name="Rectangle 74"/>
          <p:cNvSpPr>
            <a:spLocks noChangeArrowheads="1"/>
          </p:cNvSpPr>
          <p:nvPr/>
        </p:nvSpPr>
        <p:spPr bwMode="auto">
          <a:xfrm>
            <a:off x="3679825" y="5832574"/>
            <a:ext cx="869950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사용</a:t>
            </a:r>
          </a:p>
        </p:txBody>
      </p:sp>
      <p:sp>
        <p:nvSpPr>
          <p:cNvPr id="665" name="Line 75"/>
          <p:cNvSpPr>
            <a:spLocks noChangeShapeType="1"/>
          </p:cNvSpPr>
          <p:nvPr/>
        </p:nvSpPr>
        <p:spPr bwMode="auto">
          <a:xfrm>
            <a:off x="7631113" y="3886299"/>
            <a:ext cx="0" cy="1289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6" name="Line 76"/>
          <p:cNvSpPr>
            <a:spLocks noChangeShapeType="1"/>
          </p:cNvSpPr>
          <p:nvPr/>
        </p:nvSpPr>
        <p:spPr bwMode="auto">
          <a:xfrm>
            <a:off x="7631113" y="5172174"/>
            <a:ext cx="8715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7" name="Text Box 77"/>
          <p:cNvSpPr txBox="1">
            <a:spLocks noChangeArrowheads="1"/>
          </p:cNvSpPr>
          <p:nvPr/>
        </p:nvSpPr>
        <p:spPr bwMode="auto">
          <a:xfrm>
            <a:off x="7867650" y="5016599"/>
            <a:ext cx="938213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정산</a:t>
            </a:r>
          </a:p>
        </p:txBody>
      </p:sp>
      <p:sp>
        <p:nvSpPr>
          <p:cNvPr id="668" name="Line 78"/>
          <p:cNvSpPr>
            <a:spLocks noChangeShapeType="1"/>
          </p:cNvSpPr>
          <p:nvPr/>
        </p:nvSpPr>
        <p:spPr bwMode="auto">
          <a:xfrm>
            <a:off x="7162800" y="3886299"/>
            <a:ext cx="4683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9" name="Rectangle 79"/>
          <p:cNvSpPr>
            <a:spLocks noChangeArrowheads="1"/>
          </p:cNvSpPr>
          <p:nvPr/>
        </p:nvSpPr>
        <p:spPr bwMode="auto">
          <a:xfrm>
            <a:off x="7162800" y="4699099"/>
            <a:ext cx="869950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Cashbag Data</a:t>
            </a:r>
          </a:p>
        </p:txBody>
      </p:sp>
      <p:sp>
        <p:nvSpPr>
          <p:cNvPr id="670" name="Line 80"/>
          <p:cNvSpPr>
            <a:spLocks noChangeShapeType="1"/>
          </p:cNvSpPr>
          <p:nvPr/>
        </p:nvSpPr>
        <p:spPr bwMode="auto">
          <a:xfrm>
            <a:off x="1670050" y="2340074"/>
            <a:ext cx="0" cy="3889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1" name="AutoShape 81"/>
          <p:cNvSpPr>
            <a:spLocks noChangeArrowheads="1"/>
          </p:cNvSpPr>
          <p:nvPr/>
        </p:nvSpPr>
        <p:spPr bwMode="auto">
          <a:xfrm>
            <a:off x="1401763" y="2625824"/>
            <a:ext cx="527050" cy="315913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회원</a:t>
            </a:r>
          </a:p>
        </p:txBody>
      </p:sp>
      <p:sp>
        <p:nvSpPr>
          <p:cNvPr id="672" name="Rectangle 87"/>
          <p:cNvSpPr>
            <a:spLocks noChangeArrowheads="1"/>
          </p:cNvSpPr>
          <p:nvPr/>
        </p:nvSpPr>
        <p:spPr bwMode="auto">
          <a:xfrm>
            <a:off x="3467100" y="3791049"/>
            <a:ext cx="703263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가입통보</a:t>
            </a:r>
          </a:p>
        </p:txBody>
      </p:sp>
      <p:sp>
        <p:nvSpPr>
          <p:cNvPr id="673" name="Text Box 91"/>
          <p:cNvSpPr txBox="1">
            <a:spLocks noChangeArrowheads="1"/>
          </p:cNvSpPr>
          <p:nvPr/>
        </p:nvSpPr>
        <p:spPr bwMode="auto">
          <a:xfrm>
            <a:off x="3711575" y="5067399"/>
            <a:ext cx="1006475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가맹점업무</a:t>
            </a:r>
          </a:p>
        </p:txBody>
      </p:sp>
      <p:sp>
        <p:nvSpPr>
          <p:cNvPr id="674" name="Line 98"/>
          <p:cNvSpPr>
            <a:spLocks noChangeShapeType="1"/>
          </p:cNvSpPr>
          <p:nvPr/>
        </p:nvSpPr>
        <p:spPr bwMode="auto">
          <a:xfrm flipV="1">
            <a:off x="3276600" y="1179612"/>
            <a:ext cx="3684588" cy="1746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5" name="Rectangle 99"/>
          <p:cNvSpPr>
            <a:spLocks noChangeArrowheads="1"/>
          </p:cNvSpPr>
          <p:nvPr/>
        </p:nvSpPr>
        <p:spPr bwMode="auto">
          <a:xfrm>
            <a:off x="4416425" y="1054199"/>
            <a:ext cx="153987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휴사정보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계약정보</a:t>
            </a:r>
          </a:p>
        </p:txBody>
      </p:sp>
      <p:sp>
        <p:nvSpPr>
          <p:cNvPr id="676" name="Line 100"/>
          <p:cNvSpPr>
            <a:spLocks noChangeShapeType="1"/>
          </p:cNvSpPr>
          <p:nvPr/>
        </p:nvSpPr>
        <p:spPr bwMode="auto">
          <a:xfrm>
            <a:off x="3176588" y="1373287"/>
            <a:ext cx="0" cy="1762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7" name="Line 101"/>
          <p:cNvSpPr>
            <a:spLocks noChangeShapeType="1"/>
          </p:cNvSpPr>
          <p:nvPr/>
        </p:nvSpPr>
        <p:spPr bwMode="auto">
          <a:xfrm>
            <a:off x="3321050" y="1549499"/>
            <a:ext cx="38084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8" name="Rectangle 102"/>
          <p:cNvSpPr>
            <a:spLocks noChangeArrowheads="1"/>
          </p:cNvSpPr>
          <p:nvPr/>
        </p:nvSpPr>
        <p:spPr bwMode="auto">
          <a:xfrm>
            <a:off x="3879850" y="1408212"/>
            <a:ext cx="274637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부담금청구</a:t>
            </a: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사용금액지급</a:t>
            </a:r>
          </a:p>
        </p:txBody>
      </p:sp>
      <p:sp>
        <p:nvSpPr>
          <p:cNvPr id="679" name="Line 103"/>
          <p:cNvSpPr>
            <a:spLocks noChangeShapeType="1"/>
          </p:cNvSpPr>
          <p:nvPr/>
        </p:nvSpPr>
        <p:spPr bwMode="auto">
          <a:xfrm>
            <a:off x="7118350" y="1338362"/>
            <a:ext cx="0" cy="2111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0" name="Line 104"/>
          <p:cNvSpPr>
            <a:spLocks noChangeShapeType="1"/>
          </p:cNvSpPr>
          <p:nvPr/>
        </p:nvSpPr>
        <p:spPr bwMode="auto">
          <a:xfrm>
            <a:off x="7497763" y="1338362"/>
            <a:ext cx="0" cy="5651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1" name="Line 105"/>
          <p:cNvSpPr>
            <a:spLocks noChangeShapeType="1"/>
          </p:cNvSpPr>
          <p:nvPr/>
        </p:nvSpPr>
        <p:spPr bwMode="auto">
          <a:xfrm flipV="1">
            <a:off x="3143250" y="1892399"/>
            <a:ext cx="4354513" cy="111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2" name="Rectangle 106"/>
          <p:cNvSpPr>
            <a:spLocks noChangeArrowheads="1"/>
          </p:cNvSpPr>
          <p:nvPr/>
        </p:nvSpPr>
        <p:spPr bwMode="auto">
          <a:xfrm>
            <a:off x="4483100" y="1727299"/>
            <a:ext cx="140652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포인트부담금입금</a:t>
            </a:r>
          </a:p>
        </p:txBody>
      </p:sp>
      <p:sp>
        <p:nvSpPr>
          <p:cNvPr id="683" name="Line 107"/>
          <p:cNvSpPr>
            <a:spLocks noChangeShapeType="1"/>
          </p:cNvSpPr>
          <p:nvPr/>
        </p:nvSpPr>
        <p:spPr bwMode="auto">
          <a:xfrm>
            <a:off x="7631113" y="1195487"/>
            <a:ext cx="0" cy="2549525"/>
          </a:xfrm>
          <a:prstGeom prst="line">
            <a:avLst/>
          </a:prstGeom>
          <a:noFill/>
          <a:ln w="57150" cmpd="thinThick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4" name="Text Box 108"/>
          <p:cNvSpPr txBox="1">
            <a:spLocks noChangeArrowheads="1"/>
          </p:cNvSpPr>
          <p:nvPr/>
        </p:nvSpPr>
        <p:spPr bwMode="auto">
          <a:xfrm>
            <a:off x="6962775" y="1052612"/>
            <a:ext cx="936625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제휴업무</a:t>
            </a:r>
          </a:p>
        </p:txBody>
      </p:sp>
      <p:sp>
        <p:nvSpPr>
          <p:cNvPr id="685" name="Line 109"/>
          <p:cNvSpPr>
            <a:spLocks noChangeShapeType="1"/>
          </p:cNvSpPr>
          <p:nvPr/>
        </p:nvSpPr>
        <p:spPr bwMode="auto">
          <a:xfrm>
            <a:off x="7173913" y="3745012"/>
            <a:ext cx="4683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6" name="Rectangle 110"/>
          <p:cNvSpPr>
            <a:spLocks noChangeArrowheads="1"/>
          </p:cNvSpPr>
          <p:nvPr/>
        </p:nvSpPr>
        <p:spPr bwMode="auto">
          <a:xfrm>
            <a:off x="7096125" y="2682974"/>
            <a:ext cx="93662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제휴계약정보</a:t>
            </a:r>
          </a:p>
        </p:txBody>
      </p:sp>
      <p:sp>
        <p:nvSpPr>
          <p:cNvPr id="687" name="AutoShape 111"/>
          <p:cNvSpPr>
            <a:spLocks noChangeArrowheads="1"/>
          </p:cNvSpPr>
          <p:nvPr/>
        </p:nvSpPr>
        <p:spPr bwMode="auto">
          <a:xfrm>
            <a:off x="931863" y="1125637"/>
            <a:ext cx="938212" cy="78263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NXmile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</a:t>
            </a:r>
          </a:p>
        </p:txBody>
      </p:sp>
      <p:sp>
        <p:nvSpPr>
          <p:cNvPr id="688" name="AutoShape 112"/>
          <p:cNvSpPr>
            <a:spLocks noChangeArrowheads="1"/>
          </p:cNvSpPr>
          <p:nvPr/>
        </p:nvSpPr>
        <p:spPr bwMode="auto">
          <a:xfrm>
            <a:off x="3009900" y="1054199"/>
            <a:ext cx="300038" cy="914400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휴</a:t>
            </a: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</a:p>
        </p:txBody>
      </p:sp>
      <p:sp>
        <p:nvSpPr>
          <p:cNvPr id="689" name="AutoShape 113"/>
          <p:cNvSpPr>
            <a:spLocks noChangeArrowheads="1"/>
          </p:cNvSpPr>
          <p:nvPr/>
        </p:nvSpPr>
        <p:spPr bwMode="auto">
          <a:xfrm>
            <a:off x="2008188" y="1151037"/>
            <a:ext cx="866775" cy="490537"/>
          </a:xfrm>
          <a:prstGeom prst="leftRightArrow">
            <a:avLst>
              <a:gd name="adj1" fmla="val 50000"/>
              <a:gd name="adj2" fmla="val 41679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I/F</a:t>
            </a:r>
          </a:p>
        </p:txBody>
      </p:sp>
      <p:sp>
        <p:nvSpPr>
          <p:cNvPr id="690" name="Text Box 114"/>
          <p:cNvSpPr txBox="1">
            <a:spLocks noChangeArrowheads="1"/>
          </p:cNvSpPr>
          <p:nvPr/>
        </p:nvSpPr>
        <p:spPr bwMode="auto">
          <a:xfrm>
            <a:off x="2132013" y="1620937"/>
            <a:ext cx="6985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0" hangingPunct="0">
              <a:lnSpc>
                <a:spcPct val="80000"/>
              </a:lnSpc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회원정보</a:t>
            </a:r>
          </a:p>
          <a:p>
            <a:pPr algn="ctr" eaLnBrk="0" latinLnBrk="0" hangingPunct="0">
              <a:lnSpc>
                <a:spcPct val="80000"/>
              </a:lnSpc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실적정보</a:t>
            </a:r>
          </a:p>
        </p:txBody>
      </p:sp>
      <p:sp>
        <p:nvSpPr>
          <p:cNvPr id="691" name="Line 116"/>
          <p:cNvSpPr>
            <a:spLocks noChangeShapeType="1"/>
          </p:cNvSpPr>
          <p:nvPr/>
        </p:nvSpPr>
        <p:spPr bwMode="auto">
          <a:xfrm>
            <a:off x="7899400" y="1195487"/>
            <a:ext cx="4683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2" name="Line 117"/>
          <p:cNvSpPr>
            <a:spLocks noChangeShapeType="1"/>
          </p:cNvSpPr>
          <p:nvPr/>
        </p:nvSpPr>
        <p:spPr bwMode="auto">
          <a:xfrm>
            <a:off x="8367713" y="1195487"/>
            <a:ext cx="0" cy="84931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3" name="Rectangle 118"/>
          <p:cNvSpPr>
            <a:spLocks noChangeArrowheads="1"/>
          </p:cNvSpPr>
          <p:nvPr/>
        </p:nvSpPr>
        <p:spPr bwMode="auto">
          <a:xfrm>
            <a:off x="7943850" y="1466949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사은품신청</a:t>
            </a:r>
          </a:p>
        </p:txBody>
      </p:sp>
      <p:sp>
        <p:nvSpPr>
          <p:cNvPr id="694" name="Line 119"/>
          <p:cNvSpPr>
            <a:spLocks noChangeShapeType="1"/>
          </p:cNvSpPr>
          <p:nvPr/>
        </p:nvSpPr>
        <p:spPr bwMode="auto">
          <a:xfrm>
            <a:off x="4549775" y="2374999"/>
            <a:ext cx="0" cy="307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5" name="Line 120"/>
          <p:cNvSpPr>
            <a:spLocks noChangeShapeType="1"/>
          </p:cNvSpPr>
          <p:nvPr/>
        </p:nvSpPr>
        <p:spPr bwMode="auto">
          <a:xfrm>
            <a:off x="4549775" y="2682974"/>
            <a:ext cx="14065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6" name="Line 121"/>
          <p:cNvSpPr>
            <a:spLocks noChangeShapeType="1"/>
          </p:cNvSpPr>
          <p:nvPr/>
        </p:nvSpPr>
        <p:spPr bwMode="auto">
          <a:xfrm>
            <a:off x="5956300" y="2682974"/>
            <a:ext cx="0" cy="141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7" name="Line 122"/>
          <p:cNvSpPr>
            <a:spLocks noChangeShapeType="1"/>
          </p:cNvSpPr>
          <p:nvPr/>
        </p:nvSpPr>
        <p:spPr bwMode="auto">
          <a:xfrm>
            <a:off x="5956300" y="2824262"/>
            <a:ext cx="736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8" name="Line 123"/>
          <p:cNvSpPr>
            <a:spLocks noChangeShapeType="1"/>
          </p:cNvSpPr>
          <p:nvPr/>
        </p:nvSpPr>
        <p:spPr bwMode="auto">
          <a:xfrm>
            <a:off x="5688013" y="2786162"/>
            <a:ext cx="0" cy="1028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9" name="Line 124"/>
          <p:cNvSpPr>
            <a:spLocks noChangeShapeType="1"/>
          </p:cNvSpPr>
          <p:nvPr/>
        </p:nvSpPr>
        <p:spPr bwMode="auto">
          <a:xfrm>
            <a:off x="5688013" y="3814862"/>
            <a:ext cx="7381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0" name="Text Box 125"/>
          <p:cNvSpPr txBox="1">
            <a:spLocks noChangeArrowheads="1"/>
          </p:cNvSpPr>
          <p:nvPr/>
        </p:nvSpPr>
        <p:spPr bwMode="auto">
          <a:xfrm>
            <a:off x="6159500" y="3640237"/>
            <a:ext cx="1004888" cy="263525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ko-KR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청구/입금</a:t>
            </a:r>
          </a:p>
        </p:txBody>
      </p:sp>
      <p:sp>
        <p:nvSpPr>
          <p:cNvPr id="701" name="Rectangle 126"/>
          <p:cNvSpPr>
            <a:spLocks noChangeArrowheads="1"/>
          </p:cNvSpPr>
          <p:nvPr/>
        </p:nvSpPr>
        <p:spPr bwMode="auto">
          <a:xfrm>
            <a:off x="5554663" y="3390999"/>
            <a:ext cx="536575" cy="282575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>
                <a:latin typeface="맑은 고딕" panose="020B0503020000020004" pitchFamily="50" charset="-127"/>
                <a:ea typeface="맑은 고딕" panose="020B0503020000020004" pitchFamily="50" charset="-127"/>
              </a:rPr>
              <a:t>청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4" name="그룹 58"/>
          <p:cNvGrpSpPr>
            <a:grpSpLocks/>
          </p:cNvGrpSpPr>
          <p:nvPr/>
        </p:nvGrpSpPr>
        <p:grpSpPr bwMode="auto">
          <a:xfrm>
            <a:off x="631825" y="1084858"/>
            <a:ext cx="8569325" cy="4827746"/>
            <a:chOff x="738188" y="1543521"/>
            <a:chExt cx="8286750" cy="4486485"/>
          </a:xfrm>
        </p:grpSpPr>
        <p:sp>
          <p:nvSpPr>
            <p:cNvPr id="57" name="Text Box 1206"/>
            <p:cNvSpPr txBox="1">
              <a:spLocks noChangeArrowheads="1"/>
            </p:cNvSpPr>
            <p:nvPr/>
          </p:nvSpPr>
          <p:spPr bwMode="auto">
            <a:xfrm>
              <a:off x="738188" y="3273366"/>
              <a:ext cx="1334668" cy="371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포인트 적립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용</a:t>
              </a:r>
            </a:p>
            <a:p>
              <a:pPr algn="ctr" eaLnBrk="0" latinLnBrk="0" hangingPunct="0"/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보너스카드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58" name="Text Box 1190"/>
            <p:cNvSpPr txBox="1">
              <a:spLocks noChangeArrowheads="1"/>
            </p:cNvSpPr>
            <p:nvPr/>
          </p:nvSpPr>
          <p:spPr bwMode="auto">
            <a:xfrm>
              <a:off x="1138863" y="4936674"/>
              <a:ext cx="3002757" cy="106367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  <a:defRPr/>
              </a:pPr>
              <a:endParaRPr kumimoji="0" lang="ko-KR" altLang="ko-KR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9" name="Line 1191"/>
            <p:cNvSpPr>
              <a:spLocks noChangeShapeType="1"/>
            </p:cNvSpPr>
            <p:nvPr/>
          </p:nvSpPr>
          <p:spPr bwMode="auto">
            <a:xfrm flipV="1">
              <a:off x="2072856" y="1942333"/>
              <a:ext cx="0" cy="3193816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0" name="Text Box 1193"/>
            <p:cNvSpPr txBox="1">
              <a:spLocks noChangeArrowheads="1"/>
            </p:cNvSpPr>
            <p:nvPr/>
          </p:nvSpPr>
          <p:spPr bwMode="auto">
            <a:xfrm>
              <a:off x="4275178" y="4936674"/>
              <a:ext cx="2404048" cy="106367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  <a:defRPr/>
              </a:pPr>
              <a:endParaRPr kumimoji="0" lang="ko-KR" altLang="ko-KR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1" name="Text Box 1194"/>
            <p:cNvSpPr txBox="1">
              <a:spLocks noChangeArrowheads="1"/>
            </p:cNvSpPr>
            <p:nvPr/>
          </p:nvSpPr>
          <p:spPr bwMode="auto">
            <a:xfrm>
              <a:off x="6811249" y="4936674"/>
              <a:ext cx="2202943" cy="106367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  <a:defRPr/>
              </a:pPr>
              <a:endParaRPr kumimoji="0" lang="ko-KR" altLang="ko-KR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Text Box 1195"/>
            <p:cNvSpPr txBox="1">
              <a:spLocks noChangeArrowheads="1"/>
            </p:cNvSpPr>
            <p:nvPr/>
          </p:nvSpPr>
          <p:spPr bwMode="auto">
            <a:xfrm>
              <a:off x="1940212" y="5801190"/>
              <a:ext cx="1334047" cy="228816"/>
            </a:xfrm>
            <a:prstGeom prst="rect">
              <a:avLst/>
            </a:prstGeom>
            <a:solidFill>
              <a:srgbClr val="99CCFF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주유소</a:t>
              </a:r>
            </a:p>
          </p:txBody>
        </p:sp>
        <p:sp>
          <p:nvSpPr>
            <p:cNvPr id="63" name="Text Box 1196"/>
            <p:cNvSpPr txBox="1">
              <a:spLocks noChangeArrowheads="1"/>
            </p:cNvSpPr>
            <p:nvPr/>
          </p:nvSpPr>
          <p:spPr bwMode="auto">
            <a:xfrm>
              <a:off x="7345482" y="5801190"/>
              <a:ext cx="1335582" cy="228816"/>
            </a:xfrm>
            <a:prstGeom prst="rect">
              <a:avLst/>
            </a:prstGeom>
            <a:solidFill>
              <a:srgbClr val="99CCFF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형 가맹점</a:t>
              </a:r>
            </a:p>
          </p:txBody>
        </p:sp>
        <p:sp>
          <p:nvSpPr>
            <p:cNvPr id="64" name="Text Box 1197"/>
            <p:cNvSpPr txBox="1">
              <a:spLocks noChangeArrowheads="1"/>
            </p:cNvSpPr>
            <p:nvPr/>
          </p:nvSpPr>
          <p:spPr bwMode="auto">
            <a:xfrm>
              <a:off x="4809411" y="5801190"/>
              <a:ext cx="1323301" cy="228816"/>
            </a:xfrm>
            <a:prstGeom prst="rect">
              <a:avLst/>
            </a:prstGeom>
            <a:solidFill>
              <a:srgbClr val="99CCFF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중</a:t>
              </a: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소형 가맹점</a:t>
              </a:r>
            </a:p>
          </p:txBody>
        </p:sp>
        <p:sp>
          <p:nvSpPr>
            <p:cNvPr id="65" name="Text Box 1198"/>
            <p:cNvSpPr txBox="1">
              <a:spLocks noChangeArrowheads="1"/>
            </p:cNvSpPr>
            <p:nvPr/>
          </p:nvSpPr>
          <p:spPr bwMode="auto">
            <a:xfrm>
              <a:off x="1338433" y="5135836"/>
              <a:ext cx="1202023" cy="26555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Full POS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 </a:t>
              </a:r>
            </a:p>
          </p:txBody>
        </p:sp>
        <p:sp>
          <p:nvSpPr>
            <p:cNvPr id="66" name="Text Box 1199"/>
            <p:cNvSpPr txBox="1">
              <a:spLocks noChangeArrowheads="1"/>
            </p:cNvSpPr>
            <p:nvPr/>
          </p:nvSpPr>
          <p:spPr bwMode="auto">
            <a:xfrm>
              <a:off x="2740026" y="5135836"/>
              <a:ext cx="1335582" cy="26555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Easy Enclean</a:t>
              </a:r>
            </a:p>
          </p:txBody>
        </p:sp>
        <p:sp>
          <p:nvSpPr>
            <p:cNvPr id="67" name="Text Box 1200"/>
            <p:cNvSpPr txBox="1">
              <a:spLocks noChangeArrowheads="1"/>
            </p:cNvSpPr>
            <p:nvPr/>
          </p:nvSpPr>
          <p:spPr bwMode="auto">
            <a:xfrm>
              <a:off x="1338433" y="5467776"/>
              <a:ext cx="1736256" cy="267026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간이형</a:t>
              </a: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POS (L/L, D/U)</a:t>
              </a:r>
            </a:p>
          </p:txBody>
        </p:sp>
        <p:sp>
          <p:nvSpPr>
            <p:cNvPr id="68" name="Text Box 1201"/>
            <p:cNvSpPr txBox="1">
              <a:spLocks noChangeArrowheads="1"/>
            </p:cNvSpPr>
            <p:nvPr/>
          </p:nvSpPr>
          <p:spPr bwMode="auto">
            <a:xfrm>
              <a:off x="4342725" y="5135836"/>
              <a:ext cx="1200489" cy="26555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CAT</a:t>
              </a:r>
            </a:p>
          </p:txBody>
        </p:sp>
        <p:sp>
          <p:nvSpPr>
            <p:cNvPr id="69" name="Text Box 1202"/>
            <p:cNvSpPr txBox="1">
              <a:spLocks noChangeArrowheads="1"/>
            </p:cNvSpPr>
            <p:nvPr/>
          </p:nvSpPr>
          <p:spPr bwMode="auto">
            <a:xfrm>
              <a:off x="5343644" y="5467776"/>
              <a:ext cx="1200489" cy="267026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en-US" altLang="ko-KR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 Mall</a:t>
              </a:r>
            </a:p>
          </p:txBody>
        </p:sp>
        <p:sp>
          <p:nvSpPr>
            <p:cNvPr id="70" name="Text Box 1203"/>
            <p:cNvSpPr txBox="1">
              <a:spLocks noChangeArrowheads="1"/>
            </p:cNvSpPr>
            <p:nvPr/>
          </p:nvSpPr>
          <p:spPr bwMode="auto">
            <a:xfrm>
              <a:off x="6944808" y="5135836"/>
              <a:ext cx="1202023" cy="26555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사</a:t>
              </a:r>
            </a:p>
          </p:txBody>
        </p:sp>
        <p:sp>
          <p:nvSpPr>
            <p:cNvPr id="71" name="Text Box 1204"/>
            <p:cNvSpPr txBox="1">
              <a:spLocks noChangeArrowheads="1"/>
            </p:cNvSpPr>
            <p:nvPr/>
          </p:nvSpPr>
          <p:spPr bwMode="auto">
            <a:xfrm>
              <a:off x="7678610" y="5467776"/>
              <a:ext cx="1202023" cy="267026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휴사</a:t>
              </a:r>
            </a:p>
          </p:txBody>
        </p:sp>
        <p:sp>
          <p:nvSpPr>
            <p:cNvPr id="72" name="Rectangle 1205"/>
            <p:cNvSpPr>
              <a:spLocks noChangeArrowheads="1"/>
            </p:cNvSpPr>
            <p:nvPr/>
          </p:nvSpPr>
          <p:spPr bwMode="auto">
            <a:xfrm>
              <a:off x="1137327" y="1543521"/>
              <a:ext cx="7876865" cy="39832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en-US" altLang="ko-KR" sz="1200" dirty="0" err="1">
                  <a:latin typeface="맑은 고딕" pitchFamily="50" charset="-127"/>
                  <a:ea typeface="맑은 고딕" pitchFamily="50" charset="-127"/>
                </a:rPr>
                <a:t>NXmile</a:t>
              </a:r>
              <a:r>
                <a:rPr kumimoji="0" lang="en-US" altLang="ko-KR" sz="1200" dirty="0">
                  <a:latin typeface="맑은 고딕" pitchFamily="50" charset="-127"/>
                  <a:ea typeface="맑은 고딕" pitchFamily="50" charset="-127"/>
                </a:rPr>
                <a:t> system</a:t>
              </a:r>
              <a:endParaRPr kumimoji="0" lang="ko-KR" altLang="en-US" sz="120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3" name="Text Box 1207"/>
            <p:cNvSpPr txBox="1">
              <a:spLocks noChangeArrowheads="1"/>
            </p:cNvSpPr>
            <p:nvPr/>
          </p:nvSpPr>
          <p:spPr bwMode="auto">
            <a:xfrm>
              <a:off x="3340300" y="2941023"/>
              <a:ext cx="1336308" cy="228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포인트 적립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용</a:t>
              </a:r>
            </a:p>
          </p:txBody>
        </p:sp>
        <p:sp>
          <p:nvSpPr>
            <p:cNvPr id="74" name="Text Box 1208"/>
            <p:cNvSpPr txBox="1">
              <a:spLocks noChangeArrowheads="1"/>
            </p:cNvSpPr>
            <p:nvPr/>
          </p:nvSpPr>
          <p:spPr bwMode="auto">
            <a:xfrm>
              <a:off x="5609564" y="2808086"/>
              <a:ext cx="1323191" cy="228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포인트 적립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용</a:t>
              </a:r>
            </a:p>
          </p:txBody>
        </p:sp>
        <p:sp>
          <p:nvSpPr>
            <p:cNvPr id="75" name="Text Box 1209"/>
            <p:cNvSpPr txBox="1">
              <a:spLocks noChangeArrowheads="1"/>
            </p:cNvSpPr>
            <p:nvPr/>
          </p:nvSpPr>
          <p:spPr bwMode="auto">
            <a:xfrm>
              <a:off x="7411530" y="2542212"/>
              <a:ext cx="1323191" cy="371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포인트 적립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용</a:t>
              </a:r>
            </a:p>
            <a:p>
              <a:pPr algn="ctr" eaLnBrk="0" latinLnBrk="0" hangingPunct="0"/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회원정보</a:t>
              </a:r>
            </a:p>
          </p:txBody>
        </p:sp>
        <p:sp>
          <p:nvSpPr>
            <p:cNvPr id="76" name="Line 1210"/>
            <p:cNvSpPr>
              <a:spLocks noChangeShapeType="1"/>
            </p:cNvSpPr>
            <p:nvPr/>
          </p:nvSpPr>
          <p:spPr bwMode="auto">
            <a:xfrm flipV="1">
              <a:off x="2205667" y="1942333"/>
              <a:ext cx="0" cy="319381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Line 1211"/>
            <p:cNvSpPr>
              <a:spLocks noChangeShapeType="1"/>
            </p:cNvSpPr>
            <p:nvPr/>
          </p:nvSpPr>
          <p:spPr bwMode="auto">
            <a:xfrm flipV="1">
              <a:off x="3407525" y="2808086"/>
              <a:ext cx="0" cy="2328062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Line 1212"/>
            <p:cNvSpPr>
              <a:spLocks noChangeShapeType="1"/>
            </p:cNvSpPr>
            <p:nvPr/>
          </p:nvSpPr>
          <p:spPr bwMode="auto">
            <a:xfrm flipV="1">
              <a:off x="4676608" y="2808086"/>
              <a:ext cx="0" cy="2328062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Line 1213"/>
            <p:cNvSpPr>
              <a:spLocks noChangeShapeType="1"/>
            </p:cNvSpPr>
            <p:nvPr/>
          </p:nvSpPr>
          <p:spPr bwMode="auto">
            <a:xfrm flipV="1">
              <a:off x="6144087" y="2675149"/>
              <a:ext cx="0" cy="2793343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Line 1214"/>
            <p:cNvSpPr>
              <a:spLocks noChangeShapeType="1"/>
            </p:cNvSpPr>
            <p:nvPr/>
          </p:nvSpPr>
          <p:spPr bwMode="auto">
            <a:xfrm>
              <a:off x="2874641" y="2808086"/>
              <a:ext cx="1801966" cy="0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1" name="Line 1215"/>
            <p:cNvSpPr>
              <a:spLocks noChangeShapeType="1"/>
            </p:cNvSpPr>
            <p:nvPr/>
          </p:nvSpPr>
          <p:spPr bwMode="auto">
            <a:xfrm>
              <a:off x="2874641" y="2675149"/>
              <a:ext cx="3269446" cy="0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Rectangle 1216"/>
            <p:cNvSpPr>
              <a:spLocks noChangeArrowheads="1"/>
            </p:cNvSpPr>
            <p:nvPr/>
          </p:nvSpPr>
          <p:spPr bwMode="auto">
            <a:xfrm>
              <a:off x="5638393" y="3274028"/>
              <a:ext cx="1335582" cy="46471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P/G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</a:t>
              </a:r>
              <a:br>
                <a:rPr kumimoji="0" lang="ko-KR" altLang="en-US"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(Inicis)</a:t>
              </a:r>
            </a:p>
          </p:txBody>
        </p:sp>
        <p:sp>
          <p:nvSpPr>
            <p:cNvPr id="83" name="Rectangle 1217"/>
            <p:cNvSpPr>
              <a:spLocks noChangeArrowheads="1"/>
            </p:cNvSpPr>
            <p:nvPr/>
          </p:nvSpPr>
          <p:spPr bwMode="auto">
            <a:xfrm>
              <a:off x="3074689" y="3274028"/>
              <a:ext cx="2463919" cy="50307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VAN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</a:t>
              </a:r>
              <a:br>
                <a:rPr kumimoji="0" lang="ko-KR" altLang="en-US"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(KICC, KIS,KOVAN, KSNET, NICE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등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84" name="Line 1218"/>
            <p:cNvSpPr>
              <a:spLocks noChangeShapeType="1"/>
            </p:cNvSpPr>
            <p:nvPr/>
          </p:nvSpPr>
          <p:spPr bwMode="auto">
            <a:xfrm flipV="1">
              <a:off x="7613206" y="2474081"/>
              <a:ext cx="0" cy="2662067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Line 1219"/>
            <p:cNvSpPr>
              <a:spLocks noChangeShapeType="1"/>
            </p:cNvSpPr>
            <p:nvPr/>
          </p:nvSpPr>
          <p:spPr bwMode="auto">
            <a:xfrm flipV="1">
              <a:off x="8480577" y="2407613"/>
              <a:ext cx="0" cy="3060879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86" name="Group 1220"/>
            <p:cNvGrpSpPr>
              <a:grpSpLocks/>
            </p:cNvGrpSpPr>
            <p:nvPr/>
          </p:nvGrpSpPr>
          <p:grpSpPr bwMode="auto">
            <a:xfrm>
              <a:off x="7113116" y="3776866"/>
              <a:ext cx="1911822" cy="531749"/>
              <a:chOff x="4320" y="2919"/>
              <a:chExt cx="584" cy="312"/>
            </a:xfrm>
          </p:grpSpPr>
          <p:sp>
            <p:nvSpPr>
              <p:cNvPr id="101" name="Freeform 1221"/>
              <p:cNvSpPr>
                <a:spLocks/>
              </p:cNvSpPr>
              <p:nvPr/>
            </p:nvSpPr>
            <p:spPr bwMode="auto">
              <a:xfrm>
                <a:off x="4320" y="2919"/>
                <a:ext cx="584" cy="312"/>
              </a:xfrm>
              <a:custGeom>
                <a:avLst/>
                <a:gdLst>
                  <a:gd name="T0" fmla="*/ 504 w 1070"/>
                  <a:gd name="T1" fmla="*/ 83 h 255"/>
                  <a:gd name="T2" fmla="*/ 545 w 1070"/>
                  <a:gd name="T3" fmla="*/ 98 h 255"/>
                  <a:gd name="T4" fmla="*/ 574 w 1070"/>
                  <a:gd name="T5" fmla="*/ 119 h 255"/>
                  <a:gd name="T6" fmla="*/ 583 w 1070"/>
                  <a:gd name="T7" fmla="*/ 141 h 255"/>
                  <a:gd name="T8" fmla="*/ 574 w 1070"/>
                  <a:gd name="T9" fmla="*/ 155 h 255"/>
                  <a:gd name="T10" fmla="*/ 555 w 1070"/>
                  <a:gd name="T11" fmla="*/ 169 h 255"/>
                  <a:gd name="T12" fmla="*/ 524 w 1070"/>
                  <a:gd name="T13" fmla="*/ 177 h 255"/>
                  <a:gd name="T14" fmla="*/ 490 w 1070"/>
                  <a:gd name="T15" fmla="*/ 181 h 255"/>
                  <a:gd name="T16" fmla="*/ 487 w 1070"/>
                  <a:gd name="T17" fmla="*/ 187 h 255"/>
                  <a:gd name="T18" fmla="*/ 486 w 1070"/>
                  <a:gd name="T19" fmla="*/ 195 h 255"/>
                  <a:gd name="T20" fmla="*/ 475 w 1070"/>
                  <a:gd name="T21" fmla="*/ 212 h 255"/>
                  <a:gd name="T22" fmla="*/ 446 w 1070"/>
                  <a:gd name="T23" fmla="*/ 229 h 255"/>
                  <a:gd name="T24" fmla="*/ 461 w 1070"/>
                  <a:gd name="T25" fmla="*/ 246 h 255"/>
                  <a:gd name="T26" fmla="*/ 467 w 1070"/>
                  <a:gd name="T27" fmla="*/ 266 h 255"/>
                  <a:gd name="T28" fmla="*/ 455 w 1070"/>
                  <a:gd name="T29" fmla="*/ 285 h 255"/>
                  <a:gd name="T30" fmla="*/ 423 w 1070"/>
                  <a:gd name="T31" fmla="*/ 299 h 255"/>
                  <a:gd name="T32" fmla="*/ 378 w 1070"/>
                  <a:gd name="T33" fmla="*/ 307 h 255"/>
                  <a:gd name="T34" fmla="*/ 325 w 1070"/>
                  <a:gd name="T35" fmla="*/ 306 h 255"/>
                  <a:gd name="T36" fmla="*/ 308 w 1070"/>
                  <a:gd name="T37" fmla="*/ 305 h 255"/>
                  <a:gd name="T38" fmla="*/ 296 w 1070"/>
                  <a:gd name="T39" fmla="*/ 302 h 255"/>
                  <a:gd name="T40" fmla="*/ 276 w 1070"/>
                  <a:gd name="T41" fmla="*/ 306 h 255"/>
                  <a:gd name="T42" fmla="*/ 251 w 1070"/>
                  <a:gd name="T43" fmla="*/ 310 h 255"/>
                  <a:gd name="T44" fmla="*/ 224 w 1070"/>
                  <a:gd name="T45" fmla="*/ 310 h 255"/>
                  <a:gd name="T46" fmla="*/ 195 w 1070"/>
                  <a:gd name="T47" fmla="*/ 308 h 255"/>
                  <a:gd name="T48" fmla="*/ 146 w 1070"/>
                  <a:gd name="T49" fmla="*/ 299 h 255"/>
                  <a:gd name="T50" fmla="*/ 104 w 1070"/>
                  <a:gd name="T51" fmla="*/ 283 h 255"/>
                  <a:gd name="T52" fmla="*/ 75 w 1070"/>
                  <a:gd name="T53" fmla="*/ 264 h 255"/>
                  <a:gd name="T54" fmla="*/ 66 w 1070"/>
                  <a:gd name="T55" fmla="*/ 242 h 255"/>
                  <a:gd name="T56" fmla="*/ 71 w 1070"/>
                  <a:gd name="T57" fmla="*/ 230 h 255"/>
                  <a:gd name="T58" fmla="*/ 82 w 1070"/>
                  <a:gd name="T59" fmla="*/ 219 h 255"/>
                  <a:gd name="T60" fmla="*/ 53 w 1070"/>
                  <a:gd name="T61" fmla="*/ 210 h 255"/>
                  <a:gd name="T62" fmla="*/ 26 w 1070"/>
                  <a:gd name="T63" fmla="*/ 199 h 255"/>
                  <a:gd name="T64" fmla="*/ 6 w 1070"/>
                  <a:gd name="T65" fmla="*/ 185 h 255"/>
                  <a:gd name="T66" fmla="*/ 0 w 1070"/>
                  <a:gd name="T67" fmla="*/ 169 h 255"/>
                  <a:gd name="T68" fmla="*/ 9 w 1070"/>
                  <a:gd name="T69" fmla="*/ 155 h 255"/>
                  <a:gd name="T70" fmla="*/ 26 w 1070"/>
                  <a:gd name="T71" fmla="*/ 146 h 255"/>
                  <a:gd name="T72" fmla="*/ 51 w 1070"/>
                  <a:gd name="T73" fmla="*/ 139 h 255"/>
                  <a:gd name="T74" fmla="*/ 85 w 1070"/>
                  <a:gd name="T75" fmla="*/ 137 h 255"/>
                  <a:gd name="T76" fmla="*/ 73 w 1070"/>
                  <a:gd name="T77" fmla="*/ 130 h 255"/>
                  <a:gd name="T78" fmla="*/ 60 w 1070"/>
                  <a:gd name="T79" fmla="*/ 117 h 255"/>
                  <a:gd name="T80" fmla="*/ 53 w 1070"/>
                  <a:gd name="T81" fmla="*/ 106 h 255"/>
                  <a:gd name="T82" fmla="*/ 51 w 1070"/>
                  <a:gd name="T83" fmla="*/ 95 h 255"/>
                  <a:gd name="T84" fmla="*/ 63 w 1070"/>
                  <a:gd name="T85" fmla="*/ 77 h 255"/>
                  <a:gd name="T86" fmla="*/ 91 w 1070"/>
                  <a:gd name="T87" fmla="*/ 65 h 255"/>
                  <a:gd name="T88" fmla="*/ 132 w 1070"/>
                  <a:gd name="T89" fmla="*/ 56 h 255"/>
                  <a:gd name="T90" fmla="*/ 181 w 1070"/>
                  <a:gd name="T91" fmla="*/ 55 h 255"/>
                  <a:gd name="T92" fmla="*/ 185 w 1070"/>
                  <a:gd name="T93" fmla="*/ 48 h 255"/>
                  <a:gd name="T94" fmla="*/ 185 w 1070"/>
                  <a:gd name="T95" fmla="*/ 40 h 255"/>
                  <a:gd name="T96" fmla="*/ 196 w 1070"/>
                  <a:gd name="T97" fmla="*/ 22 h 255"/>
                  <a:gd name="T98" fmla="*/ 228 w 1070"/>
                  <a:gd name="T99" fmla="*/ 9 h 255"/>
                  <a:gd name="T100" fmla="*/ 272 w 1070"/>
                  <a:gd name="T101" fmla="*/ 0 h 255"/>
                  <a:gd name="T102" fmla="*/ 325 w 1070"/>
                  <a:gd name="T103" fmla="*/ 0 h 255"/>
                  <a:gd name="T104" fmla="*/ 380 w 1070"/>
                  <a:gd name="T105" fmla="*/ 11 h 255"/>
                  <a:gd name="T106" fmla="*/ 422 w 1070"/>
                  <a:gd name="T107" fmla="*/ 27 h 255"/>
                  <a:gd name="T108" fmla="*/ 450 w 1070"/>
                  <a:gd name="T109" fmla="*/ 44 h 255"/>
                  <a:gd name="T110" fmla="*/ 458 w 1070"/>
                  <a:gd name="T111" fmla="*/ 67 h 255"/>
                  <a:gd name="T112" fmla="*/ 457 w 1070"/>
                  <a:gd name="T113" fmla="*/ 73 h 25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070" h="255">
                    <a:moveTo>
                      <a:pt x="835" y="61"/>
                    </a:moveTo>
                    <a:lnTo>
                      <a:pt x="850" y="61"/>
                    </a:lnTo>
                    <a:lnTo>
                      <a:pt x="864" y="62"/>
                    </a:lnTo>
                    <a:lnTo>
                      <a:pt x="875" y="63"/>
                    </a:lnTo>
                    <a:lnTo>
                      <a:pt x="887" y="64"/>
                    </a:lnTo>
                    <a:lnTo>
                      <a:pt x="900" y="65"/>
                    </a:lnTo>
                    <a:lnTo>
                      <a:pt x="910" y="67"/>
                    </a:lnTo>
                    <a:lnTo>
                      <a:pt x="923" y="68"/>
                    </a:lnTo>
                    <a:lnTo>
                      <a:pt x="932" y="69"/>
                    </a:lnTo>
                    <a:lnTo>
                      <a:pt x="943" y="71"/>
                    </a:lnTo>
                    <a:lnTo>
                      <a:pt x="953" y="72"/>
                    </a:lnTo>
                    <a:lnTo>
                      <a:pt x="964" y="73"/>
                    </a:lnTo>
                    <a:lnTo>
                      <a:pt x="973" y="75"/>
                    </a:lnTo>
                    <a:lnTo>
                      <a:pt x="984" y="77"/>
                    </a:lnTo>
                    <a:lnTo>
                      <a:pt x="991" y="79"/>
                    </a:lnTo>
                    <a:lnTo>
                      <a:pt x="998" y="80"/>
                    </a:lnTo>
                    <a:lnTo>
                      <a:pt x="1008" y="82"/>
                    </a:lnTo>
                    <a:lnTo>
                      <a:pt x="1014" y="85"/>
                    </a:lnTo>
                    <a:lnTo>
                      <a:pt x="1022" y="86"/>
                    </a:lnTo>
                    <a:lnTo>
                      <a:pt x="1028" y="88"/>
                    </a:lnTo>
                    <a:lnTo>
                      <a:pt x="1035" y="90"/>
                    </a:lnTo>
                    <a:lnTo>
                      <a:pt x="1042" y="92"/>
                    </a:lnTo>
                    <a:lnTo>
                      <a:pt x="1045" y="94"/>
                    </a:lnTo>
                    <a:lnTo>
                      <a:pt x="1051" y="97"/>
                    </a:lnTo>
                    <a:lnTo>
                      <a:pt x="1055" y="99"/>
                    </a:lnTo>
                    <a:lnTo>
                      <a:pt x="1062" y="101"/>
                    </a:lnTo>
                    <a:lnTo>
                      <a:pt x="1062" y="103"/>
                    </a:lnTo>
                    <a:lnTo>
                      <a:pt x="1066" y="106"/>
                    </a:lnTo>
                    <a:lnTo>
                      <a:pt x="1068" y="107"/>
                    </a:lnTo>
                    <a:lnTo>
                      <a:pt x="1069" y="110"/>
                    </a:lnTo>
                    <a:lnTo>
                      <a:pt x="1066" y="112"/>
                    </a:lnTo>
                    <a:lnTo>
                      <a:pt x="1068" y="115"/>
                    </a:lnTo>
                    <a:lnTo>
                      <a:pt x="1066" y="116"/>
                    </a:lnTo>
                    <a:lnTo>
                      <a:pt x="1068" y="119"/>
                    </a:lnTo>
                    <a:lnTo>
                      <a:pt x="1063" y="120"/>
                    </a:lnTo>
                    <a:lnTo>
                      <a:pt x="1062" y="122"/>
                    </a:lnTo>
                    <a:lnTo>
                      <a:pt x="1062" y="123"/>
                    </a:lnTo>
                    <a:lnTo>
                      <a:pt x="1058" y="125"/>
                    </a:lnTo>
                    <a:lnTo>
                      <a:pt x="1055" y="125"/>
                    </a:lnTo>
                    <a:lnTo>
                      <a:pt x="1051" y="127"/>
                    </a:lnTo>
                    <a:lnTo>
                      <a:pt x="1049" y="129"/>
                    </a:lnTo>
                    <a:lnTo>
                      <a:pt x="1045" y="130"/>
                    </a:lnTo>
                    <a:lnTo>
                      <a:pt x="1040" y="131"/>
                    </a:lnTo>
                    <a:lnTo>
                      <a:pt x="1035" y="133"/>
                    </a:lnTo>
                    <a:lnTo>
                      <a:pt x="1033" y="134"/>
                    </a:lnTo>
                    <a:lnTo>
                      <a:pt x="1027" y="135"/>
                    </a:lnTo>
                    <a:lnTo>
                      <a:pt x="1022" y="136"/>
                    </a:lnTo>
                    <a:lnTo>
                      <a:pt x="1016" y="138"/>
                    </a:lnTo>
                    <a:lnTo>
                      <a:pt x="1008" y="139"/>
                    </a:lnTo>
                    <a:lnTo>
                      <a:pt x="1002" y="139"/>
                    </a:lnTo>
                    <a:lnTo>
                      <a:pt x="998" y="141"/>
                    </a:lnTo>
                    <a:lnTo>
                      <a:pt x="991" y="142"/>
                    </a:lnTo>
                    <a:lnTo>
                      <a:pt x="985" y="142"/>
                    </a:lnTo>
                    <a:lnTo>
                      <a:pt x="977" y="143"/>
                    </a:lnTo>
                    <a:lnTo>
                      <a:pt x="969" y="144"/>
                    </a:lnTo>
                    <a:lnTo>
                      <a:pt x="960" y="145"/>
                    </a:lnTo>
                    <a:lnTo>
                      <a:pt x="955" y="146"/>
                    </a:lnTo>
                    <a:lnTo>
                      <a:pt x="947" y="146"/>
                    </a:lnTo>
                    <a:lnTo>
                      <a:pt x="938" y="146"/>
                    </a:lnTo>
                    <a:lnTo>
                      <a:pt x="929" y="147"/>
                    </a:lnTo>
                    <a:lnTo>
                      <a:pt x="922" y="147"/>
                    </a:lnTo>
                    <a:lnTo>
                      <a:pt x="912" y="147"/>
                    </a:lnTo>
                    <a:lnTo>
                      <a:pt x="904" y="148"/>
                    </a:lnTo>
                    <a:lnTo>
                      <a:pt x="898" y="148"/>
                    </a:lnTo>
                    <a:lnTo>
                      <a:pt x="889" y="149"/>
                    </a:lnTo>
                    <a:lnTo>
                      <a:pt x="887" y="149"/>
                    </a:lnTo>
                    <a:lnTo>
                      <a:pt x="890" y="149"/>
                    </a:lnTo>
                    <a:lnTo>
                      <a:pt x="890" y="150"/>
                    </a:lnTo>
                    <a:lnTo>
                      <a:pt x="888" y="151"/>
                    </a:lnTo>
                    <a:lnTo>
                      <a:pt x="891" y="152"/>
                    </a:lnTo>
                    <a:lnTo>
                      <a:pt x="890" y="152"/>
                    </a:lnTo>
                    <a:lnTo>
                      <a:pt x="892" y="153"/>
                    </a:lnTo>
                    <a:lnTo>
                      <a:pt x="891" y="153"/>
                    </a:lnTo>
                    <a:lnTo>
                      <a:pt x="891" y="154"/>
                    </a:lnTo>
                    <a:lnTo>
                      <a:pt x="893" y="156"/>
                    </a:lnTo>
                    <a:lnTo>
                      <a:pt x="892" y="156"/>
                    </a:lnTo>
                    <a:lnTo>
                      <a:pt x="890" y="158"/>
                    </a:lnTo>
                    <a:lnTo>
                      <a:pt x="891" y="159"/>
                    </a:lnTo>
                    <a:lnTo>
                      <a:pt x="890" y="161"/>
                    </a:lnTo>
                    <a:lnTo>
                      <a:pt x="887" y="163"/>
                    </a:lnTo>
                    <a:lnTo>
                      <a:pt x="882" y="166"/>
                    </a:lnTo>
                    <a:lnTo>
                      <a:pt x="880" y="168"/>
                    </a:lnTo>
                    <a:lnTo>
                      <a:pt x="876" y="170"/>
                    </a:lnTo>
                    <a:lnTo>
                      <a:pt x="872" y="171"/>
                    </a:lnTo>
                    <a:lnTo>
                      <a:pt x="870" y="173"/>
                    </a:lnTo>
                    <a:lnTo>
                      <a:pt x="864" y="175"/>
                    </a:lnTo>
                    <a:lnTo>
                      <a:pt x="859" y="177"/>
                    </a:lnTo>
                    <a:lnTo>
                      <a:pt x="853" y="179"/>
                    </a:lnTo>
                    <a:lnTo>
                      <a:pt x="845" y="181"/>
                    </a:lnTo>
                    <a:lnTo>
                      <a:pt x="839" y="183"/>
                    </a:lnTo>
                    <a:lnTo>
                      <a:pt x="832" y="184"/>
                    </a:lnTo>
                    <a:lnTo>
                      <a:pt x="824" y="185"/>
                    </a:lnTo>
                    <a:lnTo>
                      <a:pt x="818" y="187"/>
                    </a:lnTo>
                    <a:lnTo>
                      <a:pt x="806" y="188"/>
                    </a:lnTo>
                    <a:lnTo>
                      <a:pt x="815" y="190"/>
                    </a:lnTo>
                    <a:lnTo>
                      <a:pt x="819" y="192"/>
                    </a:lnTo>
                    <a:lnTo>
                      <a:pt x="826" y="193"/>
                    </a:lnTo>
                    <a:lnTo>
                      <a:pt x="830" y="195"/>
                    </a:lnTo>
                    <a:lnTo>
                      <a:pt x="835" y="198"/>
                    </a:lnTo>
                    <a:lnTo>
                      <a:pt x="838" y="199"/>
                    </a:lnTo>
                    <a:lnTo>
                      <a:pt x="845" y="201"/>
                    </a:lnTo>
                    <a:lnTo>
                      <a:pt x="847" y="203"/>
                    </a:lnTo>
                    <a:lnTo>
                      <a:pt x="850" y="206"/>
                    </a:lnTo>
                    <a:lnTo>
                      <a:pt x="852" y="207"/>
                    </a:lnTo>
                    <a:lnTo>
                      <a:pt x="854" y="210"/>
                    </a:lnTo>
                    <a:lnTo>
                      <a:pt x="855" y="211"/>
                    </a:lnTo>
                    <a:lnTo>
                      <a:pt x="855" y="213"/>
                    </a:lnTo>
                    <a:lnTo>
                      <a:pt x="856" y="215"/>
                    </a:lnTo>
                    <a:lnTo>
                      <a:pt x="855" y="217"/>
                    </a:lnTo>
                    <a:lnTo>
                      <a:pt x="856" y="219"/>
                    </a:lnTo>
                    <a:lnTo>
                      <a:pt x="854" y="222"/>
                    </a:lnTo>
                    <a:lnTo>
                      <a:pt x="853" y="223"/>
                    </a:lnTo>
                    <a:lnTo>
                      <a:pt x="848" y="226"/>
                    </a:lnTo>
                    <a:lnTo>
                      <a:pt x="843" y="228"/>
                    </a:lnTo>
                    <a:lnTo>
                      <a:pt x="842" y="230"/>
                    </a:lnTo>
                    <a:lnTo>
                      <a:pt x="836" y="231"/>
                    </a:lnTo>
                    <a:lnTo>
                      <a:pt x="833" y="233"/>
                    </a:lnTo>
                    <a:lnTo>
                      <a:pt x="828" y="234"/>
                    </a:lnTo>
                    <a:lnTo>
                      <a:pt x="819" y="236"/>
                    </a:lnTo>
                    <a:lnTo>
                      <a:pt x="815" y="238"/>
                    </a:lnTo>
                    <a:lnTo>
                      <a:pt x="805" y="239"/>
                    </a:lnTo>
                    <a:lnTo>
                      <a:pt x="799" y="241"/>
                    </a:lnTo>
                    <a:lnTo>
                      <a:pt x="792" y="242"/>
                    </a:lnTo>
                    <a:lnTo>
                      <a:pt x="784" y="243"/>
                    </a:lnTo>
                    <a:lnTo>
                      <a:pt x="775" y="244"/>
                    </a:lnTo>
                    <a:lnTo>
                      <a:pt x="766" y="246"/>
                    </a:lnTo>
                    <a:lnTo>
                      <a:pt x="758" y="247"/>
                    </a:lnTo>
                    <a:lnTo>
                      <a:pt x="746" y="248"/>
                    </a:lnTo>
                    <a:lnTo>
                      <a:pt x="738" y="248"/>
                    </a:lnTo>
                    <a:lnTo>
                      <a:pt x="727" y="249"/>
                    </a:lnTo>
                    <a:lnTo>
                      <a:pt x="716" y="249"/>
                    </a:lnTo>
                    <a:lnTo>
                      <a:pt x="704" y="250"/>
                    </a:lnTo>
                    <a:lnTo>
                      <a:pt x="693" y="251"/>
                    </a:lnTo>
                    <a:lnTo>
                      <a:pt x="682" y="251"/>
                    </a:lnTo>
                    <a:lnTo>
                      <a:pt x="673" y="251"/>
                    </a:lnTo>
                    <a:lnTo>
                      <a:pt x="658" y="251"/>
                    </a:lnTo>
                    <a:lnTo>
                      <a:pt x="646" y="251"/>
                    </a:lnTo>
                    <a:lnTo>
                      <a:pt x="637" y="251"/>
                    </a:lnTo>
                    <a:lnTo>
                      <a:pt x="623" y="251"/>
                    </a:lnTo>
                    <a:lnTo>
                      <a:pt x="610" y="250"/>
                    </a:lnTo>
                    <a:lnTo>
                      <a:pt x="596" y="250"/>
                    </a:lnTo>
                    <a:lnTo>
                      <a:pt x="582" y="249"/>
                    </a:lnTo>
                    <a:lnTo>
                      <a:pt x="579" y="249"/>
                    </a:lnTo>
                    <a:lnTo>
                      <a:pt x="576" y="249"/>
                    </a:lnTo>
                    <a:lnTo>
                      <a:pt x="573" y="249"/>
                    </a:lnTo>
                    <a:lnTo>
                      <a:pt x="569" y="249"/>
                    </a:lnTo>
                    <a:lnTo>
                      <a:pt x="567" y="249"/>
                    </a:lnTo>
                    <a:lnTo>
                      <a:pt x="564" y="249"/>
                    </a:lnTo>
                    <a:lnTo>
                      <a:pt x="563" y="248"/>
                    </a:lnTo>
                    <a:lnTo>
                      <a:pt x="560" y="248"/>
                    </a:lnTo>
                    <a:lnTo>
                      <a:pt x="557" y="248"/>
                    </a:lnTo>
                    <a:lnTo>
                      <a:pt x="554" y="248"/>
                    </a:lnTo>
                    <a:lnTo>
                      <a:pt x="551" y="247"/>
                    </a:lnTo>
                    <a:lnTo>
                      <a:pt x="548" y="248"/>
                    </a:lnTo>
                    <a:lnTo>
                      <a:pt x="543" y="247"/>
                    </a:lnTo>
                    <a:lnTo>
                      <a:pt x="541" y="246"/>
                    </a:lnTo>
                    <a:lnTo>
                      <a:pt x="537" y="247"/>
                    </a:lnTo>
                    <a:lnTo>
                      <a:pt x="531" y="248"/>
                    </a:lnTo>
                    <a:lnTo>
                      <a:pt x="527" y="248"/>
                    </a:lnTo>
                    <a:lnTo>
                      <a:pt x="525" y="249"/>
                    </a:lnTo>
                    <a:lnTo>
                      <a:pt x="517" y="250"/>
                    </a:lnTo>
                    <a:lnTo>
                      <a:pt x="511" y="249"/>
                    </a:lnTo>
                    <a:lnTo>
                      <a:pt x="506" y="250"/>
                    </a:lnTo>
                    <a:lnTo>
                      <a:pt x="501" y="251"/>
                    </a:lnTo>
                    <a:lnTo>
                      <a:pt x="494" y="251"/>
                    </a:lnTo>
                    <a:lnTo>
                      <a:pt x="491" y="251"/>
                    </a:lnTo>
                    <a:lnTo>
                      <a:pt x="482" y="251"/>
                    </a:lnTo>
                    <a:lnTo>
                      <a:pt x="479" y="251"/>
                    </a:lnTo>
                    <a:lnTo>
                      <a:pt x="473" y="252"/>
                    </a:lnTo>
                    <a:lnTo>
                      <a:pt x="469" y="252"/>
                    </a:lnTo>
                    <a:lnTo>
                      <a:pt x="460" y="253"/>
                    </a:lnTo>
                    <a:lnTo>
                      <a:pt x="454" y="253"/>
                    </a:lnTo>
                    <a:lnTo>
                      <a:pt x="449" y="253"/>
                    </a:lnTo>
                    <a:lnTo>
                      <a:pt x="441" y="253"/>
                    </a:lnTo>
                    <a:lnTo>
                      <a:pt x="435" y="253"/>
                    </a:lnTo>
                    <a:lnTo>
                      <a:pt x="430" y="254"/>
                    </a:lnTo>
                    <a:lnTo>
                      <a:pt x="423" y="253"/>
                    </a:lnTo>
                    <a:lnTo>
                      <a:pt x="419" y="253"/>
                    </a:lnTo>
                    <a:lnTo>
                      <a:pt x="411" y="253"/>
                    </a:lnTo>
                    <a:lnTo>
                      <a:pt x="404" y="253"/>
                    </a:lnTo>
                    <a:lnTo>
                      <a:pt x="398" y="253"/>
                    </a:lnTo>
                    <a:lnTo>
                      <a:pt x="393" y="253"/>
                    </a:lnTo>
                    <a:lnTo>
                      <a:pt x="385" y="252"/>
                    </a:lnTo>
                    <a:lnTo>
                      <a:pt x="379" y="253"/>
                    </a:lnTo>
                    <a:lnTo>
                      <a:pt x="371" y="253"/>
                    </a:lnTo>
                    <a:lnTo>
                      <a:pt x="367" y="252"/>
                    </a:lnTo>
                    <a:lnTo>
                      <a:pt x="358" y="252"/>
                    </a:lnTo>
                    <a:lnTo>
                      <a:pt x="350" y="251"/>
                    </a:lnTo>
                    <a:lnTo>
                      <a:pt x="337" y="251"/>
                    </a:lnTo>
                    <a:lnTo>
                      <a:pt x="325" y="250"/>
                    </a:lnTo>
                    <a:lnTo>
                      <a:pt x="315" y="248"/>
                    </a:lnTo>
                    <a:lnTo>
                      <a:pt x="302" y="248"/>
                    </a:lnTo>
                    <a:lnTo>
                      <a:pt x="290" y="247"/>
                    </a:lnTo>
                    <a:lnTo>
                      <a:pt x="276" y="246"/>
                    </a:lnTo>
                    <a:lnTo>
                      <a:pt x="267" y="244"/>
                    </a:lnTo>
                    <a:lnTo>
                      <a:pt x="255" y="243"/>
                    </a:lnTo>
                    <a:lnTo>
                      <a:pt x="245" y="241"/>
                    </a:lnTo>
                    <a:lnTo>
                      <a:pt x="235" y="240"/>
                    </a:lnTo>
                    <a:lnTo>
                      <a:pt x="223" y="239"/>
                    </a:lnTo>
                    <a:lnTo>
                      <a:pt x="213" y="237"/>
                    </a:lnTo>
                    <a:lnTo>
                      <a:pt x="204" y="235"/>
                    </a:lnTo>
                    <a:lnTo>
                      <a:pt x="197" y="233"/>
                    </a:lnTo>
                    <a:lnTo>
                      <a:pt x="190" y="231"/>
                    </a:lnTo>
                    <a:lnTo>
                      <a:pt x="181" y="230"/>
                    </a:lnTo>
                    <a:lnTo>
                      <a:pt x="173" y="228"/>
                    </a:lnTo>
                    <a:lnTo>
                      <a:pt x="165" y="227"/>
                    </a:lnTo>
                    <a:lnTo>
                      <a:pt x="158" y="223"/>
                    </a:lnTo>
                    <a:lnTo>
                      <a:pt x="151" y="222"/>
                    </a:lnTo>
                    <a:lnTo>
                      <a:pt x="146" y="220"/>
                    </a:lnTo>
                    <a:lnTo>
                      <a:pt x="141" y="218"/>
                    </a:lnTo>
                    <a:lnTo>
                      <a:pt x="138" y="216"/>
                    </a:lnTo>
                    <a:lnTo>
                      <a:pt x="132" y="213"/>
                    </a:lnTo>
                    <a:lnTo>
                      <a:pt x="129" y="211"/>
                    </a:lnTo>
                    <a:lnTo>
                      <a:pt x="125" y="209"/>
                    </a:lnTo>
                    <a:lnTo>
                      <a:pt x="125" y="207"/>
                    </a:lnTo>
                    <a:lnTo>
                      <a:pt x="122" y="204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2" y="193"/>
                    </a:lnTo>
                    <a:lnTo>
                      <a:pt x="123" y="192"/>
                    </a:lnTo>
                    <a:lnTo>
                      <a:pt x="126" y="191"/>
                    </a:lnTo>
                    <a:lnTo>
                      <a:pt x="125" y="189"/>
                    </a:lnTo>
                    <a:lnTo>
                      <a:pt x="128" y="188"/>
                    </a:lnTo>
                    <a:lnTo>
                      <a:pt x="131" y="188"/>
                    </a:lnTo>
                    <a:lnTo>
                      <a:pt x="133" y="186"/>
                    </a:lnTo>
                    <a:lnTo>
                      <a:pt x="136" y="185"/>
                    </a:lnTo>
                    <a:lnTo>
                      <a:pt x="139" y="184"/>
                    </a:lnTo>
                    <a:lnTo>
                      <a:pt x="140" y="183"/>
                    </a:lnTo>
                    <a:lnTo>
                      <a:pt x="142" y="182"/>
                    </a:lnTo>
                    <a:lnTo>
                      <a:pt x="146" y="181"/>
                    </a:lnTo>
                    <a:lnTo>
                      <a:pt x="149" y="180"/>
                    </a:lnTo>
                    <a:lnTo>
                      <a:pt x="150" y="179"/>
                    </a:lnTo>
                    <a:lnTo>
                      <a:pt x="155" y="179"/>
                    </a:lnTo>
                    <a:lnTo>
                      <a:pt x="147" y="179"/>
                    </a:lnTo>
                    <a:lnTo>
                      <a:pt x="140" y="177"/>
                    </a:lnTo>
                    <a:lnTo>
                      <a:pt x="130" y="176"/>
                    </a:lnTo>
                    <a:lnTo>
                      <a:pt x="121" y="176"/>
                    </a:lnTo>
                    <a:lnTo>
                      <a:pt x="114" y="174"/>
                    </a:lnTo>
                    <a:lnTo>
                      <a:pt x="105" y="173"/>
                    </a:lnTo>
                    <a:lnTo>
                      <a:pt x="98" y="172"/>
                    </a:lnTo>
                    <a:lnTo>
                      <a:pt x="90" y="171"/>
                    </a:lnTo>
                    <a:lnTo>
                      <a:pt x="82" y="170"/>
                    </a:lnTo>
                    <a:lnTo>
                      <a:pt x="76" y="170"/>
                    </a:lnTo>
                    <a:lnTo>
                      <a:pt x="69" y="168"/>
                    </a:lnTo>
                    <a:lnTo>
                      <a:pt x="63" y="167"/>
                    </a:lnTo>
                    <a:lnTo>
                      <a:pt x="59" y="166"/>
                    </a:lnTo>
                    <a:lnTo>
                      <a:pt x="52" y="164"/>
                    </a:lnTo>
                    <a:lnTo>
                      <a:pt x="48" y="163"/>
                    </a:lnTo>
                    <a:lnTo>
                      <a:pt x="41" y="161"/>
                    </a:lnTo>
                    <a:lnTo>
                      <a:pt x="36" y="160"/>
                    </a:lnTo>
                    <a:lnTo>
                      <a:pt x="29" y="158"/>
                    </a:lnTo>
                    <a:lnTo>
                      <a:pt x="26" y="157"/>
                    </a:lnTo>
                    <a:lnTo>
                      <a:pt x="22" y="156"/>
                    </a:lnTo>
                    <a:lnTo>
                      <a:pt x="18" y="154"/>
                    </a:lnTo>
                    <a:lnTo>
                      <a:pt x="14" y="153"/>
                    </a:lnTo>
                    <a:lnTo>
                      <a:pt x="11" y="151"/>
                    </a:lnTo>
                    <a:lnTo>
                      <a:pt x="8" y="149"/>
                    </a:lnTo>
                    <a:lnTo>
                      <a:pt x="7" y="147"/>
                    </a:lnTo>
                    <a:lnTo>
                      <a:pt x="3" y="146"/>
                    </a:lnTo>
                    <a:lnTo>
                      <a:pt x="3" y="145"/>
                    </a:lnTo>
                    <a:lnTo>
                      <a:pt x="0" y="143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0" y="138"/>
                    </a:lnTo>
                    <a:lnTo>
                      <a:pt x="1" y="137"/>
                    </a:lnTo>
                    <a:lnTo>
                      <a:pt x="1" y="136"/>
                    </a:lnTo>
                    <a:lnTo>
                      <a:pt x="2" y="133"/>
                    </a:lnTo>
                    <a:lnTo>
                      <a:pt x="5" y="132"/>
                    </a:lnTo>
                    <a:lnTo>
                      <a:pt x="8" y="131"/>
                    </a:lnTo>
                    <a:lnTo>
                      <a:pt x="9" y="130"/>
                    </a:lnTo>
                    <a:lnTo>
                      <a:pt x="11" y="129"/>
                    </a:lnTo>
                    <a:lnTo>
                      <a:pt x="16" y="127"/>
                    </a:lnTo>
                    <a:lnTo>
                      <a:pt x="20" y="126"/>
                    </a:lnTo>
                    <a:lnTo>
                      <a:pt x="21" y="125"/>
                    </a:lnTo>
                    <a:lnTo>
                      <a:pt x="27" y="124"/>
                    </a:lnTo>
                    <a:lnTo>
                      <a:pt x="28" y="123"/>
                    </a:lnTo>
                    <a:lnTo>
                      <a:pt x="33" y="122"/>
                    </a:lnTo>
                    <a:lnTo>
                      <a:pt x="37" y="121"/>
                    </a:lnTo>
                    <a:lnTo>
                      <a:pt x="43" y="120"/>
                    </a:lnTo>
                    <a:lnTo>
                      <a:pt x="48" y="119"/>
                    </a:lnTo>
                    <a:lnTo>
                      <a:pt x="55" y="118"/>
                    </a:lnTo>
                    <a:lnTo>
                      <a:pt x="59" y="117"/>
                    </a:lnTo>
                    <a:lnTo>
                      <a:pt x="65" y="117"/>
                    </a:lnTo>
                    <a:lnTo>
                      <a:pt x="70" y="116"/>
                    </a:lnTo>
                    <a:lnTo>
                      <a:pt x="75" y="115"/>
                    </a:lnTo>
                    <a:lnTo>
                      <a:pt x="81" y="115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101" y="113"/>
                    </a:lnTo>
                    <a:lnTo>
                      <a:pt x="111" y="114"/>
                    </a:lnTo>
                    <a:lnTo>
                      <a:pt x="116" y="113"/>
                    </a:lnTo>
                    <a:lnTo>
                      <a:pt x="125" y="112"/>
                    </a:lnTo>
                    <a:lnTo>
                      <a:pt x="130" y="113"/>
                    </a:lnTo>
                    <a:lnTo>
                      <a:pt x="137" y="112"/>
                    </a:lnTo>
                    <a:lnTo>
                      <a:pt x="147" y="112"/>
                    </a:lnTo>
                    <a:lnTo>
                      <a:pt x="155" y="112"/>
                    </a:lnTo>
                    <a:lnTo>
                      <a:pt x="162" y="112"/>
                    </a:lnTo>
                    <a:lnTo>
                      <a:pt x="159" y="111"/>
                    </a:lnTo>
                    <a:lnTo>
                      <a:pt x="155" y="110"/>
                    </a:lnTo>
                    <a:lnTo>
                      <a:pt x="151" y="109"/>
                    </a:lnTo>
                    <a:lnTo>
                      <a:pt x="146" y="108"/>
                    </a:lnTo>
                    <a:lnTo>
                      <a:pt x="141" y="107"/>
                    </a:lnTo>
                    <a:lnTo>
                      <a:pt x="138" y="105"/>
                    </a:lnTo>
                    <a:lnTo>
                      <a:pt x="134" y="106"/>
                    </a:lnTo>
                    <a:lnTo>
                      <a:pt x="130" y="104"/>
                    </a:lnTo>
                    <a:lnTo>
                      <a:pt x="126" y="103"/>
                    </a:lnTo>
                    <a:lnTo>
                      <a:pt x="125" y="102"/>
                    </a:lnTo>
                    <a:lnTo>
                      <a:pt x="120" y="101"/>
                    </a:lnTo>
                    <a:lnTo>
                      <a:pt x="119" y="100"/>
                    </a:lnTo>
                    <a:lnTo>
                      <a:pt x="116" y="98"/>
                    </a:lnTo>
                    <a:lnTo>
                      <a:pt x="112" y="97"/>
                    </a:lnTo>
                    <a:lnTo>
                      <a:pt x="110" y="96"/>
                    </a:lnTo>
                    <a:lnTo>
                      <a:pt x="110" y="94"/>
                    </a:lnTo>
                    <a:lnTo>
                      <a:pt x="107" y="93"/>
                    </a:lnTo>
                    <a:lnTo>
                      <a:pt x="104" y="92"/>
                    </a:lnTo>
                    <a:lnTo>
                      <a:pt x="103" y="91"/>
                    </a:lnTo>
                    <a:lnTo>
                      <a:pt x="100" y="90"/>
                    </a:lnTo>
                    <a:lnTo>
                      <a:pt x="97" y="89"/>
                    </a:lnTo>
                    <a:lnTo>
                      <a:pt x="97" y="87"/>
                    </a:lnTo>
                    <a:lnTo>
                      <a:pt x="95" y="86"/>
                    </a:lnTo>
                    <a:lnTo>
                      <a:pt x="96" y="84"/>
                    </a:lnTo>
                    <a:lnTo>
                      <a:pt x="94" y="83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79"/>
                    </a:lnTo>
                    <a:lnTo>
                      <a:pt x="94" y="78"/>
                    </a:lnTo>
                    <a:lnTo>
                      <a:pt x="95" y="76"/>
                    </a:lnTo>
                    <a:lnTo>
                      <a:pt x="95" y="75"/>
                    </a:lnTo>
                    <a:lnTo>
                      <a:pt x="98" y="73"/>
                    </a:lnTo>
                    <a:lnTo>
                      <a:pt x="103" y="70"/>
                    </a:lnTo>
                    <a:lnTo>
                      <a:pt x="104" y="68"/>
                    </a:lnTo>
                    <a:lnTo>
                      <a:pt x="106" y="67"/>
                    </a:lnTo>
                    <a:lnTo>
                      <a:pt x="111" y="65"/>
                    </a:lnTo>
                    <a:lnTo>
                      <a:pt x="116" y="63"/>
                    </a:lnTo>
                    <a:lnTo>
                      <a:pt x="120" y="62"/>
                    </a:lnTo>
                    <a:lnTo>
                      <a:pt x="128" y="60"/>
                    </a:lnTo>
                    <a:lnTo>
                      <a:pt x="131" y="59"/>
                    </a:lnTo>
                    <a:lnTo>
                      <a:pt x="138" y="57"/>
                    </a:lnTo>
                    <a:lnTo>
                      <a:pt x="145" y="56"/>
                    </a:lnTo>
                    <a:lnTo>
                      <a:pt x="152" y="54"/>
                    </a:lnTo>
                    <a:lnTo>
                      <a:pt x="160" y="53"/>
                    </a:lnTo>
                    <a:lnTo>
                      <a:pt x="166" y="53"/>
                    </a:lnTo>
                    <a:lnTo>
                      <a:pt x="174" y="51"/>
                    </a:lnTo>
                    <a:lnTo>
                      <a:pt x="184" y="50"/>
                    </a:lnTo>
                    <a:lnTo>
                      <a:pt x="193" y="49"/>
                    </a:lnTo>
                    <a:lnTo>
                      <a:pt x="201" y="48"/>
                    </a:lnTo>
                    <a:lnTo>
                      <a:pt x="212" y="47"/>
                    </a:lnTo>
                    <a:lnTo>
                      <a:pt x="223" y="47"/>
                    </a:lnTo>
                    <a:lnTo>
                      <a:pt x="231" y="46"/>
                    </a:lnTo>
                    <a:lnTo>
                      <a:pt x="241" y="46"/>
                    </a:lnTo>
                    <a:lnTo>
                      <a:pt x="253" y="45"/>
                    </a:lnTo>
                    <a:lnTo>
                      <a:pt x="263" y="45"/>
                    </a:lnTo>
                    <a:lnTo>
                      <a:pt x="275" y="45"/>
                    </a:lnTo>
                    <a:lnTo>
                      <a:pt x="286" y="45"/>
                    </a:lnTo>
                    <a:lnTo>
                      <a:pt x="297" y="45"/>
                    </a:lnTo>
                    <a:lnTo>
                      <a:pt x="308" y="45"/>
                    </a:lnTo>
                    <a:lnTo>
                      <a:pt x="320" y="45"/>
                    </a:lnTo>
                    <a:lnTo>
                      <a:pt x="332" y="45"/>
                    </a:lnTo>
                    <a:lnTo>
                      <a:pt x="344" y="46"/>
                    </a:lnTo>
                    <a:lnTo>
                      <a:pt x="342" y="44"/>
                    </a:lnTo>
                    <a:lnTo>
                      <a:pt x="342" y="43"/>
                    </a:lnTo>
                    <a:lnTo>
                      <a:pt x="340" y="43"/>
                    </a:lnTo>
                    <a:lnTo>
                      <a:pt x="340" y="42"/>
                    </a:lnTo>
                    <a:lnTo>
                      <a:pt x="340" y="41"/>
                    </a:lnTo>
                    <a:lnTo>
                      <a:pt x="339" y="41"/>
                    </a:lnTo>
                    <a:lnTo>
                      <a:pt x="339" y="39"/>
                    </a:lnTo>
                    <a:lnTo>
                      <a:pt x="338" y="38"/>
                    </a:lnTo>
                    <a:lnTo>
                      <a:pt x="338" y="37"/>
                    </a:lnTo>
                    <a:lnTo>
                      <a:pt x="338" y="36"/>
                    </a:lnTo>
                    <a:lnTo>
                      <a:pt x="338" y="35"/>
                    </a:lnTo>
                    <a:lnTo>
                      <a:pt x="338" y="34"/>
                    </a:lnTo>
                    <a:lnTo>
                      <a:pt x="339" y="33"/>
                    </a:lnTo>
                    <a:lnTo>
                      <a:pt x="339" y="32"/>
                    </a:lnTo>
                    <a:lnTo>
                      <a:pt x="339" y="29"/>
                    </a:lnTo>
                    <a:lnTo>
                      <a:pt x="342" y="27"/>
                    </a:lnTo>
                    <a:lnTo>
                      <a:pt x="345" y="26"/>
                    </a:lnTo>
                    <a:lnTo>
                      <a:pt x="347" y="23"/>
                    </a:lnTo>
                    <a:lnTo>
                      <a:pt x="350" y="21"/>
                    </a:lnTo>
                    <a:lnTo>
                      <a:pt x="356" y="20"/>
                    </a:lnTo>
                    <a:lnTo>
                      <a:pt x="360" y="18"/>
                    </a:lnTo>
                    <a:lnTo>
                      <a:pt x="367" y="17"/>
                    </a:lnTo>
                    <a:lnTo>
                      <a:pt x="373" y="14"/>
                    </a:lnTo>
                    <a:lnTo>
                      <a:pt x="381" y="13"/>
                    </a:lnTo>
                    <a:lnTo>
                      <a:pt x="385" y="11"/>
                    </a:lnTo>
                    <a:lnTo>
                      <a:pt x="391" y="10"/>
                    </a:lnTo>
                    <a:lnTo>
                      <a:pt x="399" y="9"/>
                    </a:lnTo>
                    <a:lnTo>
                      <a:pt x="410" y="7"/>
                    </a:lnTo>
                    <a:lnTo>
                      <a:pt x="418" y="7"/>
                    </a:lnTo>
                    <a:lnTo>
                      <a:pt x="428" y="5"/>
                    </a:lnTo>
                    <a:lnTo>
                      <a:pt x="436" y="4"/>
                    </a:lnTo>
                    <a:lnTo>
                      <a:pt x="444" y="3"/>
                    </a:lnTo>
                    <a:lnTo>
                      <a:pt x="454" y="3"/>
                    </a:lnTo>
                    <a:lnTo>
                      <a:pt x="466" y="2"/>
                    </a:lnTo>
                    <a:lnTo>
                      <a:pt x="477" y="1"/>
                    </a:lnTo>
                    <a:lnTo>
                      <a:pt x="489" y="1"/>
                    </a:lnTo>
                    <a:lnTo>
                      <a:pt x="499" y="0"/>
                    </a:lnTo>
                    <a:lnTo>
                      <a:pt x="511" y="0"/>
                    </a:lnTo>
                    <a:lnTo>
                      <a:pt x="524" y="0"/>
                    </a:lnTo>
                    <a:lnTo>
                      <a:pt x="535" y="0"/>
                    </a:lnTo>
                    <a:lnTo>
                      <a:pt x="546" y="0"/>
                    </a:lnTo>
                    <a:lnTo>
                      <a:pt x="559" y="0"/>
                    </a:lnTo>
                    <a:lnTo>
                      <a:pt x="572" y="0"/>
                    </a:lnTo>
                    <a:lnTo>
                      <a:pt x="584" y="0"/>
                    </a:lnTo>
                    <a:lnTo>
                      <a:pt x="595" y="0"/>
                    </a:lnTo>
                    <a:lnTo>
                      <a:pt x="611" y="1"/>
                    </a:lnTo>
                    <a:lnTo>
                      <a:pt x="623" y="2"/>
                    </a:lnTo>
                    <a:lnTo>
                      <a:pt x="636" y="3"/>
                    </a:lnTo>
                    <a:lnTo>
                      <a:pt x="647" y="3"/>
                    </a:lnTo>
                    <a:lnTo>
                      <a:pt x="660" y="5"/>
                    </a:lnTo>
                    <a:lnTo>
                      <a:pt x="673" y="7"/>
                    </a:lnTo>
                    <a:lnTo>
                      <a:pt x="686" y="7"/>
                    </a:lnTo>
                    <a:lnTo>
                      <a:pt x="696" y="9"/>
                    </a:lnTo>
                    <a:lnTo>
                      <a:pt x="706" y="10"/>
                    </a:lnTo>
                    <a:lnTo>
                      <a:pt x="715" y="11"/>
                    </a:lnTo>
                    <a:lnTo>
                      <a:pt x="728" y="12"/>
                    </a:lnTo>
                    <a:lnTo>
                      <a:pt x="737" y="14"/>
                    </a:lnTo>
                    <a:lnTo>
                      <a:pt x="747" y="16"/>
                    </a:lnTo>
                    <a:lnTo>
                      <a:pt x="757" y="18"/>
                    </a:lnTo>
                    <a:lnTo>
                      <a:pt x="764" y="19"/>
                    </a:lnTo>
                    <a:lnTo>
                      <a:pt x="773" y="22"/>
                    </a:lnTo>
                    <a:lnTo>
                      <a:pt x="780" y="23"/>
                    </a:lnTo>
                    <a:lnTo>
                      <a:pt x="789" y="25"/>
                    </a:lnTo>
                    <a:lnTo>
                      <a:pt x="796" y="27"/>
                    </a:lnTo>
                    <a:lnTo>
                      <a:pt x="801" y="29"/>
                    </a:lnTo>
                    <a:lnTo>
                      <a:pt x="808" y="31"/>
                    </a:lnTo>
                    <a:lnTo>
                      <a:pt x="815" y="32"/>
                    </a:lnTo>
                    <a:lnTo>
                      <a:pt x="820" y="35"/>
                    </a:lnTo>
                    <a:lnTo>
                      <a:pt x="824" y="36"/>
                    </a:lnTo>
                    <a:lnTo>
                      <a:pt x="828" y="40"/>
                    </a:lnTo>
                    <a:lnTo>
                      <a:pt x="832" y="41"/>
                    </a:lnTo>
                    <a:lnTo>
                      <a:pt x="835" y="44"/>
                    </a:lnTo>
                    <a:lnTo>
                      <a:pt x="836" y="46"/>
                    </a:lnTo>
                    <a:lnTo>
                      <a:pt x="839" y="48"/>
                    </a:lnTo>
                    <a:lnTo>
                      <a:pt x="840" y="50"/>
                    </a:lnTo>
                    <a:lnTo>
                      <a:pt x="840" y="52"/>
                    </a:lnTo>
                    <a:lnTo>
                      <a:pt x="839" y="55"/>
                    </a:lnTo>
                    <a:lnTo>
                      <a:pt x="841" y="57"/>
                    </a:lnTo>
                    <a:lnTo>
                      <a:pt x="839" y="58"/>
                    </a:lnTo>
                    <a:lnTo>
                      <a:pt x="838" y="59"/>
                    </a:lnTo>
                    <a:lnTo>
                      <a:pt x="837" y="60"/>
                    </a:lnTo>
                    <a:lnTo>
                      <a:pt x="835" y="61"/>
                    </a:lnTo>
                  </a:path>
                </a:pathLst>
              </a:custGeom>
              <a:gradFill rotWithShape="0">
                <a:gsLst>
                  <a:gs pos="0">
                    <a:srgbClr val="999999"/>
                  </a:gs>
                  <a:gs pos="50000">
                    <a:srgbClr val="FFFFFF"/>
                  </a:gs>
                  <a:gs pos="100000">
                    <a:srgbClr val="999999"/>
                  </a:gs>
                </a:gsLst>
                <a:lin ang="18900000" scaled="1"/>
              </a:gra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2" name="Rectangle 1222"/>
              <p:cNvSpPr>
                <a:spLocks noChangeArrowheads="1"/>
              </p:cNvSpPr>
              <p:nvPr/>
            </p:nvSpPr>
            <p:spPr bwMode="auto">
              <a:xfrm>
                <a:off x="4457" y="2993"/>
                <a:ext cx="195" cy="1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2075" tIns="46038" rIns="92075" bIns="46038">
                <a:spAutoFit/>
              </a:bodyPr>
              <a:lstStyle/>
              <a:p>
                <a:pPr algn="ctr" eaLnBrk="0" latinLnBrk="0" hangingPunct="0">
                  <a:lnSpc>
                    <a:spcPct val="95000"/>
                  </a:lnSpc>
                </a:pPr>
                <a:r>
                  <a:rPr kumimoji="0" lang="ko-KR" altLang="ko-KR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  </a:t>
                </a:r>
                <a:r>
                  <a:rPr kumimoji="0" lang="ko-KR" altLang="en-US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전용선</a:t>
                </a:r>
              </a:p>
            </p:txBody>
          </p:sp>
        </p:grpSp>
        <p:sp>
          <p:nvSpPr>
            <p:cNvPr id="87" name="Line 1223"/>
            <p:cNvSpPr>
              <a:spLocks noChangeShapeType="1"/>
            </p:cNvSpPr>
            <p:nvPr/>
          </p:nvSpPr>
          <p:spPr bwMode="auto">
            <a:xfrm>
              <a:off x="2874641" y="2407613"/>
              <a:ext cx="5605936" cy="0"/>
            </a:xfrm>
            <a:prstGeom prst="line">
              <a:avLst/>
            </a:prstGeom>
            <a:noFill/>
            <a:ln w="38100">
              <a:solidFill>
                <a:srgbClr val="3366FF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Text Box 1224"/>
            <p:cNvSpPr txBox="1">
              <a:spLocks noChangeArrowheads="1"/>
            </p:cNvSpPr>
            <p:nvPr/>
          </p:nvSpPr>
          <p:spPr bwMode="auto">
            <a:xfrm>
              <a:off x="1940045" y="3060667"/>
              <a:ext cx="1334668" cy="371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포인트 적립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사용</a:t>
              </a:r>
            </a:p>
            <a:p>
              <a:pPr algn="ctr" eaLnBrk="0" latinLnBrk="0" hangingPunct="0"/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>
                  <a:latin typeface="맑은 고딕" pitchFamily="50" charset="-127"/>
                  <a:ea typeface="맑은 고딕" pitchFamily="50" charset="-127"/>
                </a:rPr>
                <a:t>제휴신용카드</a:t>
              </a:r>
              <a:r>
                <a:rPr kumimoji="0" lang="en-US" altLang="ko-KR"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  <p:sp>
          <p:nvSpPr>
            <p:cNvPr id="89" name="Line 1225"/>
            <p:cNvSpPr>
              <a:spLocks noChangeShapeType="1"/>
            </p:cNvSpPr>
            <p:nvPr/>
          </p:nvSpPr>
          <p:spPr bwMode="auto">
            <a:xfrm flipV="1">
              <a:off x="2469650" y="2916097"/>
              <a:ext cx="6559" cy="56830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0" name="Line 1226"/>
            <p:cNvSpPr>
              <a:spLocks noChangeShapeType="1"/>
            </p:cNvSpPr>
            <p:nvPr/>
          </p:nvSpPr>
          <p:spPr bwMode="auto">
            <a:xfrm flipH="1" flipV="1">
              <a:off x="2472929" y="3459478"/>
              <a:ext cx="601749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ko-KR" altLang="en-US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91" name="Group 1227"/>
            <p:cNvGrpSpPr>
              <a:grpSpLocks/>
            </p:cNvGrpSpPr>
            <p:nvPr/>
          </p:nvGrpSpPr>
          <p:grpSpPr bwMode="auto">
            <a:xfrm>
              <a:off x="1338297" y="4070989"/>
              <a:ext cx="1669155" cy="531749"/>
              <a:chOff x="4320" y="2919"/>
              <a:chExt cx="584" cy="312"/>
            </a:xfrm>
          </p:grpSpPr>
          <p:sp>
            <p:nvSpPr>
              <p:cNvPr id="99" name="Freeform 1228"/>
              <p:cNvSpPr>
                <a:spLocks/>
              </p:cNvSpPr>
              <p:nvPr/>
            </p:nvSpPr>
            <p:spPr bwMode="auto">
              <a:xfrm>
                <a:off x="4320" y="2919"/>
                <a:ext cx="584" cy="312"/>
              </a:xfrm>
              <a:custGeom>
                <a:avLst/>
                <a:gdLst>
                  <a:gd name="T0" fmla="*/ 504 w 1070"/>
                  <a:gd name="T1" fmla="*/ 83 h 255"/>
                  <a:gd name="T2" fmla="*/ 545 w 1070"/>
                  <a:gd name="T3" fmla="*/ 98 h 255"/>
                  <a:gd name="T4" fmla="*/ 574 w 1070"/>
                  <a:gd name="T5" fmla="*/ 119 h 255"/>
                  <a:gd name="T6" fmla="*/ 583 w 1070"/>
                  <a:gd name="T7" fmla="*/ 141 h 255"/>
                  <a:gd name="T8" fmla="*/ 574 w 1070"/>
                  <a:gd name="T9" fmla="*/ 155 h 255"/>
                  <a:gd name="T10" fmla="*/ 555 w 1070"/>
                  <a:gd name="T11" fmla="*/ 169 h 255"/>
                  <a:gd name="T12" fmla="*/ 524 w 1070"/>
                  <a:gd name="T13" fmla="*/ 177 h 255"/>
                  <a:gd name="T14" fmla="*/ 490 w 1070"/>
                  <a:gd name="T15" fmla="*/ 181 h 255"/>
                  <a:gd name="T16" fmla="*/ 487 w 1070"/>
                  <a:gd name="T17" fmla="*/ 187 h 255"/>
                  <a:gd name="T18" fmla="*/ 486 w 1070"/>
                  <a:gd name="T19" fmla="*/ 195 h 255"/>
                  <a:gd name="T20" fmla="*/ 475 w 1070"/>
                  <a:gd name="T21" fmla="*/ 212 h 255"/>
                  <a:gd name="T22" fmla="*/ 446 w 1070"/>
                  <a:gd name="T23" fmla="*/ 229 h 255"/>
                  <a:gd name="T24" fmla="*/ 461 w 1070"/>
                  <a:gd name="T25" fmla="*/ 246 h 255"/>
                  <a:gd name="T26" fmla="*/ 467 w 1070"/>
                  <a:gd name="T27" fmla="*/ 266 h 255"/>
                  <a:gd name="T28" fmla="*/ 455 w 1070"/>
                  <a:gd name="T29" fmla="*/ 285 h 255"/>
                  <a:gd name="T30" fmla="*/ 423 w 1070"/>
                  <a:gd name="T31" fmla="*/ 299 h 255"/>
                  <a:gd name="T32" fmla="*/ 378 w 1070"/>
                  <a:gd name="T33" fmla="*/ 307 h 255"/>
                  <a:gd name="T34" fmla="*/ 325 w 1070"/>
                  <a:gd name="T35" fmla="*/ 306 h 255"/>
                  <a:gd name="T36" fmla="*/ 308 w 1070"/>
                  <a:gd name="T37" fmla="*/ 305 h 255"/>
                  <a:gd name="T38" fmla="*/ 296 w 1070"/>
                  <a:gd name="T39" fmla="*/ 302 h 255"/>
                  <a:gd name="T40" fmla="*/ 276 w 1070"/>
                  <a:gd name="T41" fmla="*/ 306 h 255"/>
                  <a:gd name="T42" fmla="*/ 251 w 1070"/>
                  <a:gd name="T43" fmla="*/ 310 h 255"/>
                  <a:gd name="T44" fmla="*/ 224 w 1070"/>
                  <a:gd name="T45" fmla="*/ 310 h 255"/>
                  <a:gd name="T46" fmla="*/ 195 w 1070"/>
                  <a:gd name="T47" fmla="*/ 308 h 255"/>
                  <a:gd name="T48" fmla="*/ 146 w 1070"/>
                  <a:gd name="T49" fmla="*/ 299 h 255"/>
                  <a:gd name="T50" fmla="*/ 104 w 1070"/>
                  <a:gd name="T51" fmla="*/ 283 h 255"/>
                  <a:gd name="T52" fmla="*/ 75 w 1070"/>
                  <a:gd name="T53" fmla="*/ 264 h 255"/>
                  <a:gd name="T54" fmla="*/ 66 w 1070"/>
                  <a:gd name="T55" fmla="*/ 242 h 255"/>
                  <a:gd name="T56" fmla="*/ 71 w 1070"/>
                  <a:gd name="T57" fmla="*/ 230 h 255"/>
                  <a:gd name="T58" fmla="*/ 82 w 1070"/>
                  <a:gd name="T59" fmla="*/ 219 h 255"/>
                  <a:gd name="T60" fmla="*/ 53 w 1070"/>
                  <a:gd name="T61" fmla="*/ 210 h 255"/>
                  <a:gd name="T62" fmla="*/ 26 w 1070"/>
                  <a:gd name="T63" fmla="*/ 199 h 255"/>
                  <a:gd name="T64" fmla="*/ 6 w 1070"/>
                  <a:gd name="T65" fmla="*/ 185 h 255"/>
                  <a:gd name="T66" fmla="*/ 0 w 1070"/>
                  <a:gd name="T67" fmla="*/ 169 h 255"/>
                  <a:gd name="T68" fmla="*/ 9 w 1070"/>
                  <a:gd name="T69" fmla="*/ 155 h 255"/>
                  <a:gd name="T70" fmla="*/ 26 w 1070"/>
                  <a:gd name="T71" fmla="*/ 146 h 255"/>
                  <a:gd name="T72" fmla="*/ 51 w 1070"/>
                  <a:gd name="T73" fmla="*/ 139 h 255"/>
                  <a:gd name="T74" fmla="*/ 85 w 1070"/>
                  <a:gd name="T75" fmla="*/ 137 h 255"/>
                  <a:gd name="T76" fmla="*/ 73 w 1070"/>
                  <a:gd name="T77" fmla="*/ 130 h 255"/>
                  <a:gd name="T78" fmla="*/ 60 w 1070"/>
                  <a:gd name="T79" fmla="*/ 117 h 255"/>
                  <a:gd name="T80" fmla="*/ 53 w 1070"/>
                  <a:gd name="T81" fmla="*/ 106 h 255"/>
                  <a:gd name="T82" fmla="*/ 51 w 1070"/>
                  <a:gd name="T83" fmla="*/ 95 h 255"/>
                  <a:gd name="T84" fmla="*/ 63 w 1070"/>
                  <a:gd name="T85" fmla="*/ 77 h 255"/>
                  <a:gd name="T86" fmla="*/ 91 w 1070"/>
                  <a:gd name="T87" fmla="*/ 65 h 255"/>
                  <a:gd name="T88" fmla="*/ 132 w 1070"/>
                  <a:gd name="T89" fmla="*/ 56 h 255"/>
                  <a:gd name="T90" fmla="*/ 181 w 1070"/>
                  <a:gd name="T91" fmla="*/ 55 h 255"/>
                  <a:gd name="T92" fmla="*/ 185 w 1070"/>
                  <a:gd name="T93" fmla="*/ 48 h 255"/>
                  <a:gd name="T94" fmla="*/ 185 w 1070"/>
                  <a:gd name="T95" fmla="*/ 40 h 255"/>
                  <a:gd name="T96" fmla="*/ 196 w 1070"/>
                  <a:gd name="T97" fmla="*/ 22 h 255"/>
                  <a:gd name="T98" fmla="*/ 228 w 1070"/>
                  <a:gd name="T99" fmla="*/ 9 h 255"/>
                  <a:gd name="T100" fmla="*/ 272 w 1070"/>
                  <a:gd name="T101" fmla="*/ 0 h 255"/>
                  <a:gd name="T102" fmla="*/ 325 w 1070"/>
                  <a:gd name="T103" fmla="*/ 0 h 255"/>
                  <a:gd name="T104" fmla="*/ 380 w 1070"/>
                  <a:gd name="T105" fmla="*/ 11 h 255"/>
                  <a:gd name="T106" fmla="*/ 422 w 1070"/>
                  <a:gd name="T107" fmla="*/ 27 h 255"/>
                  <a:gd name="T108" fmla="*/ 450 w 1070"/>
                  <a:gd name="T109" fmla="*/ 44 h 255"/>
                  <a:gd name="T110" fmla="*/ 458 w 1070"/>
                  <a:gd name="T111" fmla="*/ 67 h 255"/>
                  <a:gd name="T112" fmla="*/ 457 w 1070"/>
                  <a:gd name="T113" fmla="*/ 73 h 25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070" h="255">
                    <a:moveTo>
                      <a:pt x="835" y="61"/>
                    </a:moveTo>
                    <a:lnTo>
                      <a:pt x="850" y="61"/>
                    </a:lnTo>
                    <a:lnTo>
                      <a:pt x="864" y="62"/>
                    </a:lnTo>
                    <a:lnTo>
                      <a:pt x="875" y="63"/>
                    </a:lnTo>
                    <a:lnTo>
                      <a:pt x="887" y="64"/>
                    </a:lnTo>
                    <a:lnTo>
                      <a:pt x="900" y="65"/>
                    </a:lnTo>
                    <a:lnTo>
                      <a:pt x="910" y="67"/>
                    </a:lnTo>
                    <a:lnTo>
                      <a:pt x="923" y="68"/>
                    </a:lnTo>
                    <a:lnTo>
                      <a:pt x="932" y="69"/>
                    </a:lnTo>
                    <a:lnTo>
                      <a:pt x="943" y="71"/>
                    </a:lnTo>
                    <a:lnTo>
                      <a:pt x="953" y="72"/>
                    </a:lnTo>
                    <a:lnTo>
                      <a:pt x="964" y="73"/>
                    </a:lnTo>
                    <a:lnTo>
                      <a:pt x="973" y="75"/>
                    </a:lnTo>
                    <a:lnTo>
                      <a:pt x="984" y="77"/>
                    </a:lnTo>
                    <a:lnTo>
                      <a:pt x="991" y="79"/>
                    </a:lnTo>
                    <a:lnTo>
                      <a:pt x="998" y="80"/>
                    </a:lnTo>
                    <a:lnTo>
                      <a:pt x="1008" y="82"/>
                    </a:lnTo>
                    <a:lnTo>
                      <a:pt x="1014" y="85"/>
                    </a:lnTo>
                    <a:lnTo>
                      <a:pt x="1022" y="86"/>
                    </a:lnTo>
                    <a:lnTo>
                      <a:pt x="1028" y="88"/>
                    </a:lnTo>
                    <a:lnTo>
                      <a:pt x="1035" y="90"/>
                    </a:lnTo>
                    <a:lnTo>
                      <a:pt x="1042" y="92"/>
                    </a:lnTo>
                    <a:lnTo>
                      <a:pt x="1045" y="94"/>
                    </a:lnTo>
                    <a:lnTo>
                      <a:pt x="1051" y="97"/>
                    </a:lnTo>
                    <a:lnTo>
                      <a:pt x="1055" y="99"/>
                    </a:lnTo>
                    <a:lnTo>
                      <a:pt x="1062" y="101"/>
                    </a:lnTo>
                    <a:lnTo>
                      <a:pt x="1062" y="103"/>
                    </a:lnTo>
                    <a:lnTo>
                      <a:pt x="1066" y="106"/>
                    </a:lnTo>
                    <a:lnTo>
                      <a:pt x="1068" y="107"/>
                    </a:lnTo>
                    <a:lnTo>
                      <a:pt x="1069" y="110"/>
                    </a:lnTo>
                    <a:lnTo>
                      <a:pt x="1066" y="112"/>
                    </a:lnTo>
                    <a:lnTo>
                      <a:pt x="1068" y="115"/>
                    </a:lnTo>
                    <a:lnTo>
                      <a:pt x="1066" y="116"/>
                    </a:lnTo>
                    <a:lnTo>
                      <a:pt x="1068" y="119"/>
                    </a:lnTo>
                    <a:lnTo>
                      <a:pt x="1063" y="120"/>
                    </a:lnTo>
                    <a:lnTo>
                      <a:pt x="1062" y="122"/>
                    </a:lnTo>
                    <a:lnTo>
                      <a:pt x="1062" y="123"/>
                    </a:lnTo>
                    <a:lnTo>
                      <a:pt x="1058" y="125"/>
                    </a:lnTo>
                    <a:lnTo>
                      <a:pt x="1055" y="125"/>
                    </a:lnTo>
                    <a:lnTo>
                      <a:pt x="1051" y="127"/>
                    </a:lnTo>
                    <a:lnTo>
                      <a:pt x="1049" y="129"/>
                    </a:lnTo>
                    <a:lnTo>
                      <a:pt x="1045" y="130"/>
                    </a:lnTo>
                    <a:lnTo>
                      <a:pt x="1040" y="131"/>
                    </a:lnTo>
                    <a:lnTo>
                      <a:pt x="1035" y="133"/>
                    </a:lnTo>
                    <a:lnTo>
                      <a:pt x="1033" y="134"/>
                    </a:lnTo>
                    <a:lnTo>
                      <a:pt x="1027" y="135"/>
                    </a:lnTo>
                    <a:lnTo>
                      <a:pt x="1022" y="136"/>
                    </a:lnTo>
                    <a:lnTo>
                      <a:pt x="1016" y="138"/>
                    </a:lnTo>
                    <a:lnTo>
                      <a:pt x="1008" y="139"/>
                    </a:lnTo>
                    <a:lnTo>
                      <a:pt x="1002" y="139"/>
                    </a:lnTo>
                    <a:lnTo>
                      <a:pt x="998" y="141"/>
                    </a:lnTo>
                    <a:lnTo>
                      <a:pt x="991" y="142"/>
                    </a:lnTo>
                    <a:lnTo>
                      <a:pt x="985" y="142"/>
                    </a:lnTo>
                    <a:lnTo>
                      <a:pt x="977" y="143"/>
                    </a:lnTo>
                    <a:lnTo>
                      <a:pt x="969" y="144"/>
                    </a:lnTo>
                    <a:lnTo>
                      <a:pt x="960" y="145"/>
                    </a:lnTo>
                    <a:lnTo>
                      <a:pt x="955" y="146"/>
                    </a:lnTo>
                    <a:lnTo>
                      <a:pt x="947" y="146"/>
                    </a:lnTo>
                    <a:lnTo>
                      <a:pt x="938" y="146"/>
                    </a:lnTo>
                    <a:lnTo>
                      <a:pt x="929" y="147"/>
                    </a:lnTo>
                    <a:lnTo>
                      <a:pt x="922" y="147"/>
                    </a:lnTo>
                    <a:lnTo>
                      <a:pt x="912" y="147"/>
                    </a:lnTo>
                    <a:lnTo>
                      <a:pt x="904" y="148"/>
                    </a:lnTo>
                    <a:lnTo>
                      <a:pt x="898" y="148"/>
                    </a:lnTo>
                    <a:lnTo>
                      <a:pt x="889" y="149"/>
                    </a:lnTo>
                    <a:lnTo>
                      <a:pt x="887" y="149"/>
                    </a:lnTo>
                    <a:lnTo>
                      <a:pt x="890" y="149"/>
                    </a:lnTo>
                    <a:lnTo>
                      <a:pt x="890" y="150"/>
                    </a:lnTo>
                    <a:lnTo>
                      <a:pt x="888" y="151"/>
                    </a:lnTo>
                    <a:lnTo>
                      <a:pt x="891" y="152"/>
                    </a:lnTo>
                    <a:lnTo>
                      <a:pt x="890" y="152"/>
                    </a:lnTo>
                    <a:lnTo>
                      <a:pt x="892" y="153"/>
                    </a:lnTo>
                    <a:lnTo>
                      <a:pt x="891" y="153"/>
                    </a:lnTo>
                    <a:lnTo>
                      <a:pt x="891" y="154"/>
                    </a:lnTo>
                    <a:lnTo>
                      <a:pt x="893" y="156"/>
                    </a:lnTo>
                    <a:lnTo>
                      <a:pt x="892" y="156"/>
                    </a:lnTo>
                    <a:lnTo>
                      <a:pt x="890" y="158"/>
                    </a:lnTo>
                    <a:lnTo>
                      <a:pt x="891" y="159"/>
                    </a:lnTo>
                    <a:lnTo>
                      <a:pt x="890" y="161"/>
                    </a:lnTo>
                    <a:lnTo>
                      <a:pt x="887" y="163"/>
                    </a:lnTo>
                    <a:lnTo>
                      <a:pt x="882" y="166"/>
                    </a:lnTo>
                    <a:lnTo>
                      <a:pt x="880" y="168"/>
                    </a:lnTo>
                    <a:lnTo>
                      <a:pt x="876" y="170"/>
                    </a:lnTo>
                    <a:lnTo>
                      <a:pt x="872" y="171"/>
                    </a:lnTo>
                    <a:lnTo>
                      <a:pt x="870" y="173"/>
                    </a:lnTo>
                    <a:lnTo>
                      <a:pt x="864" y="175"/>
                    </a:lnTo>
                    <a:lnTo>
                      <a:pt x="859" y="177"/>
                    </a:lnTo>
                    <a:lnTo>
                      <a:pt x="853" y="179"/>
                    </a:lnTo>
                    <a:lnTo>
                      <a:pt x="845" y="181"/>
                    </a:lnTo>
                    <a:lnTo>
                      <a:pt x="839" y="183"/>
                    </a:lnTo>
                    <a:lnTo>
                      <a:pt x="832" y="184"/>
                    </a:lnTo>
                    <a:lnTo>
                      <a:pt x="824" y="185"/>
                    </a:lnTo>
                    <a:lnTo>
                      <a:pt x="818" y="187"/>
                    </a:lnTo>
                    <a:lnTo>
                      <a:pt x="806" y="188"/>
                    </a:lnTo>
                    <a:lnTo>
                      <a:pt x="815" y="190"/>
                    </a:lnTo>
                    <a:lnTo>
                      <a:pt x="819" y="192"/>
                    </a:lnTo>
                    <a:lnTo>
                      <a:pt x="826" y="193"/>
                    </a:lnTo>
                    <a:lnTo>
                      <a:pt x="830" y="195"/>
                    </a:lnTo>
                    <a:lnTo>
                      <a:pt x="835" y="198"/>
                    </a:lnTo>
                    <a:lnTo>
                      <a:pt x="838" y="199"/>
                    </a:lnTo>
                    <a:lnTo>
                      <a:pt x="845" y="201"/>
                    </a:lnTo>
                    <a:lnTo>
                      <a:pt x="847" y="203"/>
                    </a:lnTo>
                    <a:lnTo>
                      <a:pt x="850" y="206"/>
                    </a:lnTo>
                    <a:lnTo>
                      <a:pt x="852" y="207"/>
                    </a:lnTo>
                    <a:lnTo>
                      <a:pt x="854" y="210"/>
                    </a:lnTo>
                    <a:lnTo>
                      <a:pt x="855" y="211"/>
                    </a:lnTo>
                    <a:lnTo>
                      <a:pt x="855" y="213"/>
                    </a:lnTo>
                    <a:lnTo>
                      <a:pt x="856" y="215"/>
                    </a:lnTo>
                    <a:lnTo>
                      <a:pt x="855" y="217"/>
                    </a:lnTo>
                    <a:lnTo>
                      <a:pt x="856" y="219"/>
                    </a:lnTo>
                    <a:lnTo>
                      <a:pt x="854" y="222"/>
                    </a:lnTo>
                    <a:lnTo>
                      <a:pt x="853" y="223"/>
                    </a:lnTo>
                    <a:lnTo>
                      <a:pt x="848" y="226"/>
                    </a:lnTo>
                    <a:lnTo>
                      <a:pt x="843" y="228"/>
                    </a:lnTo>
                    <a:lnTo>
                      <a:pt x="842" y="230"/>
                    </a:lnTo>
                    <a:lnTo>
                      <a:pt x="836" y="231"/>
                    </a:lnTo>
                    <a:lnTo>
                      <a:pt x="833" y="233"/>
                    </a:lnTo>
                    <a:lnTo>
                      <a:pt x="828" y="234"/>
                    </a:lnTo>
                    <a:lnTo>
                      <a:pt x="819" y="236"/>
                    </a:lnTo>
                    <a:lnTo>
                      <a:pt x="815" y="238"/>
                    </a:lnTo>
                    <a:lnTo>
                      <a:pt x="805" y="239"/>
                    </a:lnTo>
                    <a:lnTo>
                      <a:pt x="799" y="241"/>
                    </a:lnTo>
                    <a:lnTo>
                      <a:pt x="792" y="242"/>
                    </a:lnTo>
                    <a:lnTo>
                      <a:pt x="784" y="243"/>
                    </a:lnTo>
                    <a:lnTo>
                      <a:pt x="775" y="244"/>
                    </a:lnTo>
                    <a:lnTo>
                      <a:pt x="766" y="246"/>
                    </a:lnTo>
                    <a:lnTo>
                      <a:pt x="758" y="247"/>
                    </a:lnTo>
                    <a:lnTo>
                      <a:pt x="746" y="248"/>
                    </a:lnTo>
                    <a:lnTo>
                      <a:pt x="738" y="248"/>
                    </a:lnTo>
                    <a:lnTo>
                      <a:pt x="727" y="249"/>
                    </a:lnTo>
                    <a:lnTo>
                      <a:pt x="716" y="249"/>
                    </a:lnTo>
                    <a:lnTo>
                      <a:pt x="704" y="250"/>
                    </a:lnTo>
                    <a:lnTo>
                      <a:pt x="693" y="251"/>
                    </a:lnTo>
                    <a:lnTo>
                      <a:pt x="682" y="251"/>
                    </a:lnTo>
                    <a:lnTo>
                      <a:pt x="673" y="251"/>
                    </a:lnTo>
                    <a:lnTo>
                      <a:pt x="658" y="251"/>
                    </a:lnTo>
                    <a:lnTo>
                      <a:pt x="646" y="251"/>
                    </a:lnTo>
                    <a:lnTo>
                      <a:pt x="637" y="251"/>
                    </a:lnTo>
                    <a:lnTo>
                      <a:pt x="623" y="251"/>
                    </a:lnTo>
                    <a:lnTo>
                      <a:pt x="610" y="250"/>
                    </a:lnTo>
                    <a:lnTo>
                      <a:pt x="596" y="250"/>
                    </a:lnTo>
                    <a:lnTo>
                      <a:pt x="582" y="249"/>
                    </a:lnTo>
                    <a:lnTo>
                      <a:pt x="579" y="249"/>
                    </a:lnTo>
                    <a:lnTo>
                      <a:pt x="576" y="249"/>
                    </a:lnTo>
                    <a:lnTo>
                      <a:pt x="573" y="249"/>
                    </a:lnTo>
                    <a:lnTo>
                      <a:pt x="569" y="249"/>
                    </a:lnTo>
                    <a:lnTo>
                      <a:pt x="567" y="249"/>
                    </a:lnTo>
                    <a:lnTo>
                      <a:pt x="564" y="249"/>
                    </a:lnTo>
                    <a:lnTo>
                      <a:pt x="563" y="248"/>
                    </a:lnTo>
                    <a:lnTo>
                      <a:pt x="560" y="248"/>
                    </a:lnTo>
                    <a:lnTo>
                      <a:pt x="557" y="248"/>
                    </a:lnTo>
                    <a:lnTo>
                      <a:pt x="554" y="248"/>
                    </a:lnTo>
                    <a:lnTo>
                      <a:pt x="551" y="247"/>
                    </a:lnTo>
                    <a:lnTo>
                      <a:pt x="548" y="248"/>
                    </a:lnTo>
                    <a:lnTo>
                      <a:pt x="543" y="247"/>
                    </a:lnTo>
                    <a:lnTo>
                      <a:pt x="541" y="246"/>
                    </a:lnTo>
                    <a:lnTo>
                      <a:pt x="537" y="247"/>
                    </a:lnTo>
                    <a:lnTo>
                      <a:pt x="531" y="248"/>
                    </a:lnTo>
                    <a:lnTo>
                      <a:pt x="527" y="248"/>
                    </a:lnTo>
                    <a:lnTo>
                      <a:pt x="525" y="249"/>
                    </a:lnTo>
                    <a:lnTo>
                      <a:pt x="517" y="250"/>
                    </a:lnTo>
                    <a:lnTo>
                      <a:pt x="511" y="249"/>
                    </a:lnTo>
                    <a:lnTo>
                      <a:pt x="506" y="250"/>
                    </a:lnTo>
                    <a:lnTo>
                      <a:pt x="501" y="251"/>
                    </a:lnTo>
                    <a:lnTo>
                      <a:pt x="494" y="251"/>
                    </a:lnTo>
                    <a:lnTo>
                      <a:pt x="491" y="251"/>
                    </a:lnTo>
                    <a:lnTo>
                      <a:pt x="482" y="251"/>
                    </a:lnTo>
                    <a:lnTo>
                      <a:pt x="479" y="251"/>
                    </a:lnTo>
                    <a:lnTo>
                      <a:pt x="473" y="252"/>
                    </a:lnTo>
                    <a:lnTo>
                      <a:pt x="469" y="252"/>
                    </a:lnTo>
                    <a:lnTo>
                      <a:pt x="460" y="253"/>
                    </a:lnTo>
                    <a:lnTo>
                      <a:pt x="454" y="253"/>
                    </a:lnTo>
                    <a:lnTo>
                      <a:pt x="449" y="253"/>
                    </a:lnTo>
                    <a:lnTo>
                      <a:pt x="441" y="253"/>
                    </a:lnTo>
                    <a:lnTo>
                      <a:pt x="435" y="253"/>
                    </a:lnTo>
                    <a:lnTo>
                      <a:pt x="430" y="254"/>
                    </a:lnTo>
                    <a:lnTo>
                      <a:pt x="423" y="253"/>
                    </a:lnTo>
                    <a:lnTo>
                      <a:pt x="419" y="253"/>
                    </a:lnTo>
                    <a:lnTo>
                      <a:pt x="411" y="253"/>
                    </a:lnTo>
                    <a:lnTo>
                      <a:pt x="404" y="253"/>
                    </a:lnTo>
                    <a:lnTo>
                      <a:pt x="398" y="253"/>
                    </a:lnTo>
                    <a:lnTo>
                      <a:pt x="393" y="253"/>
                    </a:lnTo>
                    <a:lnTo>
                      <a:pt x="385" y="252"/>
                    </a:lnTo>
                    <a:lnTo>
                      <a:pt x="379" y="253"/>
                    </a:lnTo>
                    <a:lnTo>
                      <a:pt x="371" y="253"/>
                    </a:lnTo>
                    <a:lnTo>
                      <a:pt x="367" y="252"/>
                    </a:lnTo>
                    <a:lnTo>
                      <a:pt x="358" y="252"/>
                    </a:lnTo>
                    <a:lnTo>
                      <a:pt x="350" y="251"/>
                    </a:lnTo>
                    <a:lnTo>
                      <a:pt x="337" y="251"/>
                    </a:lnTo>
                    <a:lnTo>
                      <a:pt x="325" y="250"/>
                    </a:lnTo>
                    <a:lnTo>
                      <a:pt x="315" y="248"/>
                    </a:lnTo>
                    <a:lnTo>
                      <a:pt x="302" y="248"/>
                    </a:lnTo>
                    <a:lnTo>
                      <a:pt x="290" y="247"/>
                    </a:lnTo>
                    <a:lnTo>
                      <a:pt x="276" y="246"/>
                    </a:lnTo>
                    <a:lnTo>
                      <a:pt x="267" y="244"/>
                    </a:lnTo>
                    <a:lnTo>
                      <a:pt x="255" y="243"/>
                    </a:lnTo>
                    <a:lnTo>
                      <a:pt x="245" y="241"/>
                    </a:lnTo>
                    <a:lnTo>
                      <a:pt x="235" y="240"/>
                    </a:lnTo>
                    <a:lnTo>
                      <a:pt x="223" y="239"/>
                    </a:lnTo>
                    <a:lnTo>
                      <a:pt x="213" y="237"/>
                    </a:lnTo>
                    <a:lnTo>
                      <a:pt x="204" y="235"/>
                    </a:lnTo>
                    <a:lnTo>
                      <a:pt x="197" y="233"/>
                    </a:lnTo>
                    <a:lnTo>
                      <a:pt x="190" y="231"/>
                    </a:lnTo>
                    <a:lnTo>
                      <a:pt x="181" y="230"/>
                    </a:lnTo>
                    <a:lnTo>
                      <a:pt x="173" y="228"/>
                    </a:lnTo>
                    <a:lnTo>
                      <a:pt x="165" y="227"/>
                    </a:lnTo>
                    <a:lnTo>
                      <a:pt x="158" y="223"/>
                    </a:lnTo>
                    <a:lnTo>
                      <a:pt x="151" y="222"/>
                    </a:lnTo>
                    <a:lnTo>
                      <a:pt x="146" y="220"/>
                    </a:lnTo>
                    <a:lnTo>
                      <a:pt x="141" y="218"/>
                    </a:lnTo>
                    <a:lnTo>
                      <a:pt x="138" y="216"/>
                    </a:lnTo>
                    <a:lnTo>
                      <a:pt x="132" y="213"/>
                    </a:lnTo>
                    <a:lnTo>
                      <a:pt x="129" y="211"/>
                    </a:lnTo>
                    <a:lnTo>
                      <a:pt x="125" y="209"/>
                    </a:lnTo>
                    <a:lnTo>
                      <a:pt x="125" y="207"/>
                    </a:lnTo>
                    <a:lnTo>
                      <a:pt x="122" y="204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2" y="193"/>
                    </a:lnTo>
                    <a:lnTo>
                      <a:pt x="123" y="192"/>
                    </a:lnTo>
                    <a:lnTo>
                      <a:pt x="126" y="191"/>
                    </a:lnTo>
                    <a:lnTo>
                      <a:pt x="125" y="189"/>
                    </a:lnTo>
                    <a:lnTo>
                      <a:pt x="128" y="188"/>
                    </a:lnTo>
                    <a:lnTo>
                      <a:pt x="131" y="188"/>
                    </a:lnTo>
                    <a:lnTo>
                      <a:pt x="133" y="186"/>
                    </a:lnTo>
                    <a:lnTo>
                      <a:pt x="136" y="185"/>
                    </a:lnTo>
                    <a:lnTo>
                      <a:pt x="139" y="184"/>
                    </a:lnTo>
                    <a:lnTo>
                      <a:pt x="140" y="183"/>
                    </a:lnTo>
                    <a:lnTo>
                      <a:pt x="142" y="182"/>
                    </a:lnTo>
                    <a:lnTo>
                      <a:pt x="146" y="181"/>
                    </a:lnTo>
                    <a:lnTo>
                      <a:pt x="149" y="180"/>
                    </a:lnTo>
                    <a:lnTo>
                      <a:pt x="150" y="179"/>
                    </a:lnTo>
                    <a:lnTo>
                      <a:pt x="155" y="179"/>
                    </a:lnTo>
                    <a:lnTo>
                      <a:pt x="147" y="179"/>
                    </a:lnTo>
                    <a:lnTo>
                      <a:pt x="140" y="177"/>
                    </a:lnTo>
                    <a:lnTo>
                      <a:pt x="130" y="176"/>
                    </a:lnTo>
                    <a:lnTo>
                      <a:pt x="121" y="176"/>
                    </a:lnTo>
                    <a:lnTo>
                      <a:pt x="114" y="174"/>
                    </a:lnTo>
                    <a:lnTo>
                      <a:pt x="105" y="173"/>
                    </a:lnTo>
                    <a:lnTo>
                      <a:pt x="98" y="172"/>
                    </a:lnTo>
                    <a:lnTo>
                      <a:pt x="90" y="171"/>
                    </a:lnTo>
                    <a:lnTo>
                      <a:pt x="82" y="170"/>
                    </a:lnTo>
                    <a:lnTo>
                      <a:pt x="76" y="170"/>
                    </a:lnTo>
                    <a:lnTo>
                      <a:pt x="69" y="168"/>
                    </a:lnTo>
                    <a:lnTo>
                      <a:pt x="63" y="167"/>
                    </a:lnTo>
                    <a:lnTo>
                      <a:pt x="59" y="166"/>
                    </a:lnTo>
                    <a:lnTo>
                      <a:pt x="52" y="164"/>
                    </a:lnTo>
                    <a:lnTo>
                      <a:pt x="48" y="163"/>
                    </a:lnTo>
                    <a:lnTo>
                      <a:pt x="41" y="161"/>
                    </a:lnTo>
                    <a:lnTo>
                      <a:pt x="36" y="160"/>
                    </a:lnTo>
                    <a:lnTo>
                      <a:pt x="29" y="158"/>
                    </a:lnTo>
                    <a:lnTo>
                      <a:pt x="26" y="157"/>
                    </a:lnTo>
                    <a:lnTo>
                      <a:pt x="22" y="156"/>
                    </a:lnTo>
                    <a:lnTo>
                      <a:pt x="18" y="154"/>
                    </a:lnTo>
                    <a:lnTo>
                      <a:pt x="14" y="153"/>
                    </a:lnTo>
                    <a:lnTo>
                      <a:pt x="11" y="151"/>
                    </a:lnTo>
                    <a:lnTo>
                      <a:pt x="8" y="149"/>
                    </a:lnTo>
                    <a:lnTo>
                      <a:pt x="7" y="147"/>
                    </a:lnTo>
                    <a:lnTo>
                      <a:pt x="3" y="146"/>
                    </a:lnTo>
                    <a:lnTo>
                      <a:pt x="3" y="145"/>
                    </a:lnTo>
                    <a:lnTo>
                      <a:pt x="0" y="143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0" y="138"/>
                    </a:lnTo>
                    <a:lnTo>
                      <a:pt x="1" y="137"/>
                    </a:lnTo>
                    <a:lnTo>
                      <a:pt x="1" y="136"/>
                    </a:lnTo>
                    <a:lnTo>
                      <a:pt x="2" y="133"/>
                    </a:lnTo>
                    <a:lnTo>
                      <a:pt x="5" y="132"/>
                    </a:lnTo>
                    <a:lnTo>
                      <a:pt x="8" y="131"/>
                    </a:lnTo>
                    <a:lnTo>
                      <a:pt x="9" y="130"/>
                    </a:lnTo>
                    <a:lnTo>
                      <a:pt x="11" y="129"/>
                    </a:lnTo>
                    <a:lnTo>
                      <a:pt x="16" y="127"/>
                    </a:lnTo>
                    <a:lnTo>
                      <a:pt x="20" y="126"/>
                    </a:lnTo>
                    <a:lnTo>
                      <a:pt x="21" y="125"/>
                    </a:lnTo>
                    <a:lnTo>
                      <a:pt x="27" y="124"/>
                    </a:lnTo>
                    <a:lnTo>
                      <a:pt x="28" y="123"/>
                    </a:lnTo>
                    <a:lnTo>
                      <a:pt x="33" y="122"/>
                    </a:lnTo>
                    <a:lnTo>
                      <a:pt x="37" y="121"/>
                    </a:lnTo>
                    <a:lnTo>
                      <a:pt x="43" y="120"/>
                    </a:lnTo>
                    <a:lnTo>
                      <a:pt x="48" y="119"/>
                    </a:lnTo>
                    <a:lnTo>
                      <a:pt x="55" y="118"/>
                    </a:lnTo>
                    <a:lnTo>
                      <a:pt x="59" y="117"/>
                    </a:lnTo>
                    <a:lnTo>
                      <a:pt x="65" y="117"/>
                    </a:lnTo>
                    <a:lnTo>
                      <a:pt x="70" y="116"/>
                    </a:lnTo>
                    <a:lnTo>
                      <a:pt x="75" y="115"/>
                    </a:lnTo>
                    <a:lnTo>
                      <a:pt x="81" y="115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101" y="113"/>
                    </a:lnTo>
                    <a:lnTo>
                      <a:pt x="111" y="114"/>
                    </a:lnTo>
                    <a:lnTo>
                      <a:pt x="116" y="113"/>
                    </a:lnTo>
                    <a:lnTo>
                      <a:pt x="125" y="112"/>
                    </a:lnTo>
                    <a:lnTo>
                      <a:pt x="130" y="113"/>
                    </a:lnTo>
                    <a:lnTo>
                      <a:pt x="137" y="112"/>
                    </a:lnTo>
                    <a:lnTo>
                      <a:pt x="147" y="112"/>
                    </a:lnTo>
                    <a:lnTo>
                      <a:pt x="155" y="112"/>
                    </a:lnTo>
                    <a:lnTo>
                      <a:pt x="162" y="112"/>
                    </a:lnTo>
                    <a:lnTo>
                      <a:pt x="159" y="111"/>
                    </a:lnTo>
                    <a:lnTo>
                      <a:pt x="155" y="110"/>
                    </a:lnTo>
                    <a:lnTo>
                      <a:pt x="151" y="109"/>
                    </a:lnTo>
                    <a:lnTo>
                      <a:pt x="146" y="108"/>
                    </a:lnTo>
                    <a:lnTo>
                      <a:pt x="141" y="107"/>
                    </a:lnTo>
                    <a:lnTo>
                      <a:pt x="138" y="105"/>
                    </a:lnTo>
                    <a:lnTo>
                      <a:pt x="134" y="106"/>
                    </a:lnTo>
                    <a:lnTo>
                      <a:pt x="130" y="104"/>
                    </a:lnTo>
                    <a:lnTo>
                      <a:pt x="126" y="103"/>
                    </a:lnTo>
                    <a:lnTo>
                      <a:pt x="125" y="102"/>
                    </a:lnTo>
                    <a:lnTo>
                      <a:pt x="120" y="101"/>
                    </a:lnTo>
                    <a:lnTo>
                      <a:pt x="119" y="100"/>
                    </a:lnTo>
                    <a:lnTo>
                      <a:pt x="116" y="98"/>
                    </a:lnTo>
                    <a:lnTo>
                      <a:pt x="112" y="97"/>
                    </a:lnTo>
                    <a:lnTo>
                      <a:pt x="110" y="96"/>
                    </a:lnTo>
                    <a:lnTo>
                      <a:pt x="110" y="94"/>
                    </a:lnTo>
                    <a:lnTo>
                      <a:pt x="107" y="93"/>
                    </a:lnTo>
                    <a:lnTo>
                      <a:pt x="104" y="92"/>
                    </a:lnTo>
                    <a:lnTo>
                      <a:pt x="103" y="91"/>
                    </a:lnTo>
                    <a:lnTo>
                      <a:pt x="100" y="90"/>
                    </a:lnTo>
                    <a:lnTo>
                      <a:pt x="97" y="89"/>
                    </a:lnTo>
                    <a:lnTo>
                      <a:pt x="97" y="87"/>
                    </a:lnTo>
                    <a:lnTo>
                      <a:pt x="95" y="86"/>
                    </a:lnTo>
                    <a:lnTo>
                      <a:pt x="96" y="84"/>
                    </a:lnTo>
                    <a:lnTo>
                      <a:pt x="94" y="83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79"/>
                    </a:lnTo>
                    <a:lnTo>
                      <a:pt x="94" y="78"/>
                    </a:lnTo>
                    <a:lnTo>
                      <a:pt x="95" y="76"/>
                    </a:lnTo>
                    <a:lnTo>
                      <a:pt x="95" y="75"/>
                    </a:lnTo>
                    <a:lnTo>
                      <a:pt x="98" y="73"/>
                    </a:lnTo>
                    <a:lnTo>
                      <a:pt x="103" y="70"/>
                    </a:lnTo>
                    <a:lnTo>
                      <a:pt x="104" y="68"/>
                    </a:lnTo>
                    <a:lnTo>
                      <a:pt x="106" y="67"/>
                    </a:lnTo>
                    <a:lnTo>
                      <a:pt x="111" y="65"/>
                    </a:lnTo>
                    <a:lnTo>
                      <a:pt x="116" y="63"/>
                    </a:lnTo>
                    <a:lnTo>
                      <a:pt x="120" y="62"/>
                    </a:lnTo>
                    <a:lnTo>
                      <a:pt x="128" y="60"/>
                    </a:lnTo>
                    <a:lnTo>
                      <a:pt x="131" y="59"/>
                    </a:lnTo>
                    <a:lnTo>
                      <a:pt x="138" y="57"/>
                    </a:lnTo>
                    <a:lnTo>
                      <a:pt x="145" y="56"/>
                    </a:lnTo>
                    <a:lnTo>
                      <a:pt x="152" y="54"/>
                    </a:lnTo>
                    <a:lnTo>
                      <a:pt x="160" y="53"/>
                    </a:lnTo>
                    <a:lnTo>
                      <a:pt x="166" y="53"/>
                    </a:lnTo>
                    <a:lnTo>
                      <a:pt x="174" y="51"/>
                    </a:lnTo>
                    <a:lnTo>
                      <a:pt x="184" y="50"/>
                    </a:lnTo>
                    <a:lnTo>
                      <a:pt x="193" y="49"/>
                    </a:lnTo>
                    <a:lnTo>
                      <a:pt x="201" y="48"/>
                    </a:lnTo>
                    <a:lnTo>
                      <a:pt x="212" y="47"/>
                    </a:lnTo>
                    <a:lnTo>
                      <a:pt x="223" y="47"/>
                    </a:lnTo>
                    <a:lnTo>
                      <a:pt x="231" y="46"/>
                    </a:lnTo>
                    <a:lnTo>
                      <a:pt x="241" y="46"/>
                    </a:lnTo>
                    <a:lnTo>
                      <a:pt x="253" y="45"/>
                    </a:lnTo>
                    <a:lnTo>
                      <a:pt x="263" y="45"/>
                    </a:lnTo>
                    <a:lnTo>
                      <a:pt x="275" y="45"/>
                    </a:lnTo>
                    <a:lnTo>
                      <a:pt x="286" y="45"/>
                    </a:lnTo>
                    <a:lnTo>
                      <a:pt x="297" y="45"/>
                    </a:lnTo>
                    <a:lnTo>
                      <a:pt x="308" y="45"/>
                    </a:lnTo>
                    <a:lnTo>
                      <a:pt x="320" y="45"/>
                    </a:lnTo>
                    <a:lnTo>
                      <a:pt x="332" y="45"/>
                    </a:lnTo>
                    <a:lnTo>
                      <a:pt x="344" y="46"/>
                    </a:lnTo>
                    <a:lnTo>
                      <a:pt x="342" y="44"/>
                    </a:lnTo>
                    <a:lnTo>
                      <a:pt x="342" y="43"/>
                    </a:lnTo>
                    <a:lnTo>
                      <a:pt x="340" y="43"/>
                    </a:lnTo>
                    <a:lnTo>
                      <a:pt x="340" y="42"/>
                    </a:lnTo>
                    <a:lnTo>
                      <a:pt x="340" y="41"/>
                    </a:lnTo>
                    <a:lnTo>
                      <a:pt x="339" y="41"/>
                    </a:lnTo>
                    <a:lnTo>
                      <a:pt x="339" y="39"/>
                    </a:lnTo>
                    <a:lnTo>
                      <a:pt x="338" y="38"/>
                    </a:lnTo>
                    <a:lnTo>
                      <a:pt x="338" y="37"/>
                    </a:lnTo>
                    <a:lnTo>
                      <a:pt x="338" y="36"/>
                    </a:lnTo>
                    <a:lnTo>
                      <a:pt x="338" y="35"/>
                    </a:lnTo>
                    <a:lnTo>
                      <a:pt x="338" y="34"/>
                    </a:lnTo>
                    <a:lnTo>
                      <a:pt x="339" y="33"/>
                    </a:lnTo>
                    <a:lnTo>
                      <a:pt x="339" y="32"/>
                    </a:lnTo>
                    <a:lnTo>
                      <a:pt x="339" y="29"/>
                    </a:lnTo>
                    <a:lnTo>
                      <a:pt x="342" y="27"/>
                    </a:lnTo>
                    <a:lnTo>
                      <a:pt x="345" y="26"/>
                    </a:lnTo>
                    <a:lnTo>
                      <a:pt x="347" y="23"/>
                    </a:lnTo>
                    <a:lnTo>
                      <a:pt x="350" y="21"/>
                    </a:lnTo>
                    <a:lnTo>
                      <a:pt x="356" y="20"/>
                    </a:lnTo>
                    <a:lnTo>
                      <a:pt x="360" y="18"/>
                    </a:lnTo>
                    <a:lnTo>
                      <a:pt x="367" y="17"/>
                    </a:lnTo>
                    <a:lnTo>
                      <a:pt x="373" y="14"/>
                    </a:lnTo>
                    <a:lnTo>
                      <a:pt x="381" y="13"/>
                    </a:lnTo>
                    <a:lnTo>
                      <a:pt x="385" y="11"/>
                    </a:lnTo>
                    <a:lnTo>
                      <a:pt x="391" y="10"/>
                    </a:lnTo>
                    <a:lnTo>
                      <a:pt x="399" y="9"/>
                    </a:lnTo>
                    <a:lnTo>
                      <a:pt x="410" y="7"/>
                    </a:lnTo>
                    <a:lnTo>
                      <a:pt x="418" y="7"/>
                    </a:lnTo>
                    <a:lnTo>
                      <a:pt x="428" y="5"/>
                    </a:lnTo>
                    <a:lnTo>
                      <a:pt x="436" y="4"/>
                    </a:lnTo>
                    <a:lnTo>
                      <a:pt x="444" y="3"/>
                    </a:lnTo>
                    <a:lnTo>
                      <a:pt x="454" y="3"/>
                    </a:lnTo>
                    <a:lnTo>
                      <a:pt x="466" y="2"/>
                    </a:lnTo>
                    <a:lnTo>
                      <a:pt x="477" y="1"/>
                    </a:lnTo>
                    <a:lnTo>
                      <a:pt x="489" y="1"/>
                    </a:lnTo>
                    <a:lnTo>
                      <a:pt x="499" y="0"/>
                    </a:lnTo>
                    <a:lnTo>
                      <a:pt x="511" y="0"/>
                    </a:lnTo>
                    <a:lnTo>
                      <a:pt x="524" y="0"/>
                    </a:lnTo>
                    <a:lnTo>
                      <a:pt x="535" y="0"/>
                    </a:lnTo>
                    <a:lnTo>
                      <a:pt x="546" y="0"/>
                    </a:lnTo>
                    <a:lnTo>
                      <a:pt x="559" y="0"/>
                    </a:lnTo>
                    <a:lnTo>
                      <a:pt x="572" y="0"/>
                    </a:lnTo>
                    <a:lnTo>
                      <a:pt x="584" y="0"/>
                    </a:lnTo>
                    <a:lnTo>
                      <a:pt x="595" y="0"/>
                    </a:lnTo>
                    <a:lnTo>
                      <a:pt x="611" y="1"/>
                    </a:lnTo>
                    <a:lnTo>
                      <a:pt x="623" y="2"/>
                    </a:lnTo>
                    <a:lnTo>
                      <a:pt x="636" y="3"/>
                    </a:lnTo>
                    <a:lnTo>
                      <a:pt x="647" y="3"/>
                    </a:lnTo>
                    <a:lnTo>
                      <a:pt x="660" y="5"/>
                    </a:lnTo>
                    <a:lnTo>
                      <a:pt x="673" y="7"/>
                    </a:lnTo>
                    <a:lnTo>
                      <a:pt x="686" y="7"/>
                    </a:lnTo>
                    <a:lnTo>
                      <a:pt x="696" y="9"/>
                    </a:lnTo>
                    <a:lnTo>
                      <a:pt x="706" y="10"/>
                    </a:lnTo>
                    <a:lnTo>
                      <a:pt x="715" y="11"/>
                    </a:lnTo>
                    <a:lnTo>
                      <a:pt x="728" y="12"/>
                    </a:lnTo>
                    <a:lnTo>
                      <a:pt x="737" y="14"/>
                    </a:lnTo>
                    <a:lnTo>
                      <a:pt x="747" y="16"/>
                    </a:lnTo>
                    <a:lnTo>
                      <a:pt x="757" y="18"/>
                    </a:lnTo>
                    <a:lnTo>
                      <a:pt x="764" y="19"/>
                    </a:lnTo>
                    <a:lnTo>
                      <a:pt x="773" y="22"/>
                    </a:lnTo>
                    <a:lnTo>
                      <a:pt x="780" y="23"/>
                    </a:lnTo>
                    <a:lnTo>
                      <a:pt x="789" y="25"/>
                    </a:lnTo>
                    <a:lnTo>
                      <a:pt x="796" y="27"/>
                    </a:lnTo>
                    <a:lnTo>
                      <a:pt x="801" y="29"/>
                    </a:lnTo>
                    <a:lnTo>
                      <a:pt x="808" y="31"/>
                    </a:lnTo>
                    <a:lnTo>
                      <a:pt x="815" y="32"/>
                    </a:lnTo>
                    <a:lnTo>
                      <a:pt x="820" y="35"/>
                    </a:lnTo>
                    <a:lnTo>
                      <a:pt x="824" y="36"/>
                    </a:lnTo>
                    <a:lnTo>
                      <a:pt x="828" y="40"/>
                    </a:lnTo>
                    <a:lnTo>
                      <a:pt x="832" y="41"/>
                    </a:lnTo>
                    <a:lnTo>
                      <a:pt x="835" y="44"/>
                    </a:lnTo>
                    <a:lnTo>
                      <a:pt x="836" y="46"/>
                    </a:lnTo>
                    <a:lnTo>
                      <a:pt x="839" y="48"/>
                    </a:lnTo>
                    <a:lnTo>
                      <a:pt x="840" y="50"/>
                    </a:lnTo>
                    <a:lnTo>
                      <a:pt x="840" y="52"/>
                    </a:lnTo>
                    <a:lnTo>
                      <a:pt x="839" y="55"/>
                    </a:lnTo>
                    <a:lnTo>
                      <a:pt x="841" y="57"/>
                    </a:lnTo>
                    <a:lnTo>
                      <a:pt x="839" y="58"/>
                    </a:lnTo>
                    <a:lnTo>
                      <a:pt x="838" y="59"/>
                    </a:lnTo>
                    <a:lnTo>
                      <a:pt x="837" y="60"/>
                    </a:lnTo>
                    <a:lnTo>
                      <a:pt x="835" y="61"/>
                    </a:lnTo>
                  </a:path>
                </a:pathLst>
              </a:custGeom>
              <a:gradFill rotWithShape="0">
                <a:gsLst>
                  <a:gs pos="0">
                    <a:srgbClr val="999999"/>
                  </a:gs>
                  <a:gs pos="50000">
                    <a:srgbClr val="FFFFFF"/>
                  </a:gs>
                  <a:gs pos="100000">
                    <a:srgbClr val="999999"/>
                  </a:gs>
                </a:gsLst>
                <a:lin ang="18900000" scaled="1"/>
              </a:gra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00" name="Rectangle 1229"/>
              <p:cNvSpPr>
                <a:spLocks noChangeArrowheads="1"/>
              </p:cNvSpPr>
              <p:nvPr/>
            </p:nvSpPr>
            <p:spPr bwMode="auto">
              <a:xfrm>
                <a:off x="4463" y="2993"/>
                <a:ext cx="239" cy="1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2075" tIns="46038" rIns="92075" bIns="46038">
                <a:spAutoFit/>
              </a:bodyPr>
              <a:lstStyle/>
              <a:p>
                <a:pPr algn="ctr" eaLnBrk="0" latinLnBrk="0" hangingPunct="0">
                  <a:lnSpc>
                    <a:spcPct val="95000"/>
                  </a:lnSpc>
                </a:pPr>
                <a:r>
                  <a:rPr kumimoji="0" lang="ko-KR" altLang="ko-KR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  </a:t>
                </a:r>
                <a:r>
                  <a:rPr kumimoji="0" lang="en-US" altLang="ko-KR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SK-NET</a:t>
                </a:r>
              </a:p>
            </p:txBody>
          </p:sp>
        </p:grpSp>
        <p:sp>
          <p:nvSpPr>
            <p:cNvPr id="92" name="Rectangle 1230"/>
            <p:cNvSpPr>
              <a:spLocks noChangeArrowheads="1"/>
            </p:cNvSpPr>
            <p:nvPr/>
          </p:nvSpPr>
          <p:spPr bwMode="auto">
            <a:xfrm>
              <a:off x="1445894" y="2208873"/>
              <a:ext cx="1260359" cy="69043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latinLnBrk="0" hangingPunct="0">
                <a:spcBef>
                  <a:spcPct val="50000"/>
                </a:spcBef>
                <a:defRPr/>
              </a:pPr>
              <a:r>
                <a:rPr kumimoji="0" lang="ko-KR" altLang="en-US" dirty="0">
                  <a:latin typeface="맑은 고딕" pitchFamily="50" charset="-127"/>
                  <a:ea typeface="맑은 고딕" pitchFamily="50" charset="-127"/>
                </a:rPr>
                <a:t>통합</a:t>
              </a:r>
              <a:r>
                <a:rPr kumimoji="0" lang="en-US" altLang="ko-KR" dirty="0">
                  <a:latin typeface="맑은 고딕" pitchFamily="50" charset="-127"/>
                  <a:ea typeface="맑은 고딕" pitchFamily="50" charset="-127"/>
                </a:rPr>
                <a:t>FEP</a:t>
              </a:r>
              <a:r>
                <a:rPr kumimoji="0" lang="ko-KR" altLang="en-US" dirty="0">
                  <a:latin typeface="맑은 고딕" pitchFamily="50" charset="-127"/>
                  <a:ea typeface="맑은 고딕" pitchFamily="50" charset="-127"/>
                </a:rPr>
                <a:t>서버</a:t>
              </a:r>
            </a:p>
          </p:txBody>
        </p:sp>
        <p:grpSp>
          <p:nvGrpSpPr>
            <p:cNvPr id="93" name="Group 1231"/>
            <p:cNvGrpSpPr>
              <a:grpSpLocks/>
            </p:cNvGrpSpPr>
            <p:nvPr/>
          </p:nvGrpSpPr>
          <p:grpSpPr bwMode="auto">
            <a:xfrm>
              <a:off x="5409528" y="4137458"/>
              <a:ext cx="1467479" cy="531749"/>
              <a:chOff x="4320" y="2919"/>
              <a:chExt cx="584" cy="312"/>
            </a:xfrm>
          </p:grpSpPr>
          <p:sp>
            <p:nvSpPr>
              <p:cNvPr id="97" name="Freeform 1232"/>
              <p:cNvSpPr>
                <a:spLocks/>
              </p:cNvSpPr>
              <p:nvPr/>
            </p:nvSpPr>
            <p:spPr bwMode="auto">
              <a:xfrm>
                <a:off x="4320" y="2919"/>
                <a:ext cx="584" cy="312"/>
              </a:xfrm>
              <a:custGeom>
                <a:avLst/>
                <a:gdLst>
                  <a:gd name="T0" fmla="*/ 504 w 1070"/>
                  <a:gd name="T1" fmla="*/ 83 h 255"/>
                  <a:gd name="T2" fmla="*/ 545 w 1070"/>
                  <a:gd name="T3" fmla="*/ 98 h 255"/>
                  <a:gd name="T4" fmla="*/ 574 w 1070"/>
                  <a:gd name="T5" fmla="*/ 119 h 255"/>
                  <a:gd name="T6" fmla="*/ 583 w 1070"/>
                  <a:gd name="T7" fmla="*/ 141 h 255"/>
                  <a:gd name="T8" fmla="*/ 574 w 1070"/>
                  <a:gd name="T9" fmla="*/ 155 h 255"/>
                  <a:gd name="T10" fmla="*/ 555 w 1070"/>
                  <a:gd name="T11" fmla="*/ 169 h 255"/>
                  <a:gd name="T12" fmla="*/ 524 w 1070"/>
                  <a:gd name="T13" fmla="*/ 177 h 255"/>
                  <a:gd name="T14" fmla="*/ 490 w 1070"/>
                  <a:gd name="T15" fmla="*/ 181 h 255"/>
                  <a:gd name="T16" fmla="*/ 487 w 1070"/>
                  <a:gd name="T17" fmla="*/ 187 h 255"/>
                  <a:gd name="T18" fmla="*/ 486 w 1070"/>
                  <a:gd name="T19" fmla="*/ 195 h 255"/>
                  <a:gd name="T20" fmla="*/ 475 w 1070"/>
                  <a:gd name="T21" fmla="*/ 212 h 255"/>
                  <a:gd name="T22" fmla="*/ 446 w 1070"/>
                  <a:gd name="T23" fmla="*/ 229 h 255"/>
                  <a:gd name="T24" fmla="*/ 461 w 1070"/>
                  <a:gd name="T25" fmla="*/ 246 h 255"/>
                  <a:gd name="T26" fmla="*/ 467 w 1070"/>
                  <a:gd name="T27" fmla="*/ 266 h 255"/>
                  <a:gd name="T28" fmla="*/ 455 w 1070"/>
                  <a:gd name="T29" fmla="*/ 285 h 255"/>
                  <a:gd name="T30" fmla="*/ 423 w 1070"/>
                  <a:gd name="T31" fmla="*/ 299 h 255"/>
                  <a:gd name="T32" fmla="*/ 378 w 1070"/>
                  <a:gd name="T33" fmla="*/ 307 h 255"/>
                  <a:gd name="T34" fmla="*/ 325 w 1070"/>
                  <a:gd name="T35" fmla="*/ 306 h 255"/>
                  <a:gd name="T36" fmla="*/ 308 w 1070"/>
                  <a:gd name="T37" fmla="*/ 305 h 255"/>
                  <a:gd name="T38" fmla="*/ 296 w 1070"/>
                  <a:gd name="T39" fmla="*/ 302 h 255"/>
                  <a:gd name="T40" fmla="*/ 276 w 1070"/>
                  <a:gd name="T41" fmla="*/ 306 h 255"/>
                  <a:gd name="T42" fmla="*/ 251 w 1070"/>
                  <a:gd name="T43" fmla="*/ 310 h 255"/>
                  <a:gd name="T44" fmla="*/ 224 w 1070"/>
                  <a:gd name="T45" fmla="*/ 310 h 255"/>
                  <a:gd name="T46" fmla="*/ 195 w 1070"/>
                  <a:gd name="T47" fmla="*/ 308 h 255"/>
                  <a:gd name="T48" fmla="*/ 146 w 1070"/>
                  <a:gd name="T49" fmla="*/ 299 h 255"/>
                  <a:gd name="T50" fmla="*/ 104 w 1070"/>
                  <a:gd name="T51" fmla="*/ 283 h 255"/>
                  <a:gd name="T52" fmla="*/ 75 w 1070"/>
                  <a:gd name="T53" fmla="*/ 264 h 255"/>
                  <a:gd name="T54" fmla="*/ 66 w 1070"/>
                  <a:gd name="T55" fmla="*/ 242 h 255"/>
                  <a:gd name="T56" fmla="*/ 71 w 1070"/>
                  <a:gd name="T57" fmla="*/ 230 h 255"/>
                  <a:gd name="T58" fmla="*/ 82 w 1070"/>
                  <a:gd name="T59" fmla="*/ 219 h 255"/>
                  <a:gd name="T60" fmla="*/ 53 w 1070"/>
                  <a:gd name="T61" fmla="*/ 210 h 255"/>
                  <a:gd name="T62" fmla="*/ 26 w 1070"/>
                  <a:gd name="T63" fmla="*/ 199 h 255"/>
                  <a:gd name="T64" fmla="*/ 6 w 1070"/>
                  <a:gd name="T65" fmla="*/ 185 h 255"/>
                  <a:gd name="T66" fmla="*/ 0 w 1070"/>
                  <a:gd name="T67" fmla="*/ 169 h 255"/>
                  <a:gd name="T68" fmla="*/ 9 w 1070"/>
                  <a:gd name="T69" fmla="*/ 155 h 255"/>
                  <a:gd name="T70" fmla="*/ 26 w 1070"/>
                  <a:gd name="T71" fmla="*/ 146 h 255"/>
                  <a:gd name="T72" fmla="*/ 51 w 1070"/>
                  <a:gd name="T73" fmla="*/ 139 h 255"/>
                  <a:gd name="T74" fmla="*/ 85 w 1070"/>
                  <a:gd name="T75" fmla="*/ 137 h 255"/>
                  <a:gd name="T76" fmla="*/ 73 w 1070"/>
                  <a:gd name="T77" fmla="*/ 130 h 255"/>
                  <a:gd name="T78" fmla="*/ 60 w 1070"/>
                  <a:gd name="T79" fmla="*/ 117 h 255"/>
                  <a:gd name="T80" fmla="*/ 53 w 1070"/>
                  <a:gd name="T81" fmla="*/ 106 h 255"/>
                  <a:gd name="T82" fmla="*/ 51 w 1070"/>
                  <a:gd name="T83" fmla="*/ 95 h 255"/>
                  <a:gd name="T84" fmla="*/ 63 w 1070"/>
                  <a:gd name="T85" fmla="*/ 77 h 255"/>
                  <a:gd name="T86" fmla="*/ 91 w 1070"/>
                  <a:gd name="T87" fmla="*/ 65 h 255"/>
                  <a:gd name="T88" fmla="*/ 132 w 1070"/>
                  <a:gd name="T89" fmla="*/ 56 h 255"/>
                  <a:gd name="T90" fmla="*/ 181 w 1070"/>
                  <a:gd name="T91" fmla="*/ 55 h 255"/>
                  <a:gd name="T92" fmla="*/ 185 w 1070"/>
                  <a:gd name="T93" fmla="*/ 48 h 255"/>
                  <a:gd name="T94" fmla="*/ 185 w 1070"/>
                  <a:gd name="T95" fmla="*/ 40 h 255"/>
                  <a:gd name="T96" fmla="*/ 196 w 1070"/>
                  <a:gd name="T97" fmla="*/ 22 h 255"/>
                  <a:gd name="T98" fmla="*/ 228 w 1070"/>
                  <a:gd name="T99" fmla="*/ 9 h 255"/>
                  <a:gd name="T100" fmla="*/ 272 w 1070"/>
                  <a:gd name="T101" fmla="*/ 0 h 255"/>
                  <a:gd name="T102" fmla="*/ 325 w 1070"/>
                  <a:gd name="T103" fmla="*/ 0 h 255"/>
                  <a:gd name="T104" fmla="*/ 380 w 1070"/>
                  <a:gd name="T105" fmla="*/ 11 h 255"/>
                  <a:gd name="T106" fmla="*/ 422 w 1070"/>
                  <a:gd name="T107" fmla="*/ 27 h 255"/>
                  <a:gd name="T108" fmla="*/ 450 w 1070"/>
                  <a:gd name="T109" fmla="*/ 44 h 255"/>
                  <a:gd name="T110" fmla="*/ 458 w 1070"/>
                  <a:gd name="T111" fmla="*/ 67 h 255"/>
                  <a:gd name="T112" fmla="*/ 457 w 1070"/>
                  <a:gd name="T113" fmla="*/ 73 h 25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070" h="255">
                    <a:moveTo>
                      <a:pt x="835" y="61"/>
                    </a:moveTo>
                    <a:lnTo>
                      <a:pt x="850" y="61"/>
                    </a:lnTo>
                    <a:lnTo>
                      <a:pt x="864" y="62"/>
                    </a:lnTo>
                    <a:lnTo>
                      <a:pt x="875" y="63"/>
                    </a:lnTo>
                    <a:lnTo>
                      <a:pt x="887" y="64"/>
                    </a:lnTo>
                    <a:lnTo>
                      <a:pt x="900" y="65"/>
                    </a:lnTo>
                    <a:lnTo>
                      <a:pt x="910" y="67"/>
                    </a:lnTo>
                    <a:lnTo>
                      <a:pt x="923" y="68"/>
                    </a:lnTo>
                    <a:lnTo>
                      <a:pt x="932" y="69"/>
                    </a:lnTo>
                    <a:lnTo>
                      <a:pt x="943" y="71"/>
                    </a:lnTo>
                    <a:lnTo>
                      <a:pt x="953" y="72"/>
                    </a:lnTo>
                    <a:lnTo>
                      <a:pt x="964" y="73"/>
                    </a:lnTo>
                    <a:lnTo>
                      <a:pt x="973" y="75"/>
                    </a:lnTo>
                    <a:lnTo>
                      <a:pt x="984" y="77"/>
                    </a:lnTo>
                    <a:lnTo>
                      <a:pt x="991" y="79"/>
                    </a:lnTo>
                    <a:lnTo>
                      <a:pt x="998" y="80"/>
                    </a:lnTo>
                    <a:lnTo>
                      <a:pt x="1008" y="82"/>
                    </a:lnTo>
                    <a:lnTo>
                      <a:pt x="1014" y="85"/>
                    </a:lnTo>
                    <a:lnTo>
                      <a:pt x="1022" y="86"/>
                    </a:lnTo>
                    <a:lnTo>
                      <a:pt x="1028" y="88"/>
                    </a:lnTo>
                    <a:lnTo>
                      <a:pt x="1035" y="90"/>
                    </a:lnTo>
                    <a:lnTo>
                      <a:pt x="1042" y="92"/>
                    </a:lnTo>
                    <a:lnTo>
                      <a:pt x="1045" y="94"/>
                    </a:lnTo>
                    <a:lnTo>
                      <a:pt x="1051" y="97"/>
                    </a:lnTo>
                    <a:lnTo>
                      <a:pt x="1055" y="99"/>
                    </a:lnTo>
                    <a:lnTo>
                      <a:pt x="1062" y="101"/>
                    </a:lnTo>
                    <a:lnTo>
                      <a:pt x="1062" y="103"/>
                    </a:lnTo>
                    <a:lnTo>
                      <a:pt x="1066" y="106"/>
                    </a:lnTo>
                    <a:lnTo>
                      <a:pt x="1068" y="107"/>
                    </a:lnTo>
                    <a:lnTo>
                      <a:pt x="1069" y="110"/>
                    </a:lnTo>
                    <a:lnTo>
                      <a:pt x="1066" y="112"/>
                    </a:lnTo>
                    <a:lnTo>
                      <a:pt x="1068" y="115"/>
                    </a:lnTo>
                    <a:lnTo>
                      <a:pt x="1066" y="116"/>
                    </a:lnTo>
                    <a:lnTo>
                      <a:pt x="1068" y="119"/>
                    </a:lnTo>
                    <a:lnTo>
                      <a:pt x="1063" y="120"/>
                    </a:lnTo>
                    <a:lnTo>
                      <a:pt x="1062" y="122"/>
                    </a:lnTo>
                    <a:lnTo>
                      <a:pt x="1062" y="123"/>
                    </a:lnTo>
                    <a:lnTo>
                      <a:pt x="1058" y="125"/>
                    </a:lnTo>
                    <a:lnTo>
                      <a:pt x="1055" y="125"/>
                    </a:lnTo>
                    <a:lnTo>
                      <a:pt x="1051" y="127"/>
                    </a:lnTo>
                    <a:lnTo>
                      <a:pt x="1049" y="129"/>
                    </a:lnTo>
                    <a:lnTo>
                      <a:pt x="1045" y="130"/>
                    </a:lnTo>
                    <a:lnTo>
                      <a:pt x="1040" y="131"/>
                    </a:lnTo>
                    <a:lnTo>
                      <a:pt x="1035" y="133"/>
                    </a:lnTo>
                    <a:lnTo>
                      <a:pt x="1033" y="134"/>
                    </a:lnTo>
                    <a:lnTo>
                      <a:pt x="1027" y="135"/>
                    </a:lnTo>
                    <a:lnTo>
                      <a:pt x="1022" y="136"/>
                    </a:lnTo>
                    <a:lnTo>
                      <a:pt x="1016" y="138"/>
                    </a:lnTo>
                    <a:lnTo>
                      <a:pt x="1008" y="139"/>
                    </a:lnTo>
                    <a:lnTo>
                      <a:pt x="1002" y="139"/>
                    </a:lnTo>
                    <a:lnTo>
                      <a:pt x="998" y="141"/>
                    </a:lnTo>
                    <a:lnTo>
                      <a:pt x="991" y="142"/>
                    </a:lnTo>
                    <a:lnTo>
                      <a:pt x="985" y="142"/>
                    </a:lnTo>
                    <a:lnTo>
                      <a:pt x="977" y="143"/>
                    </a:lnTo>
                    <a:lnTo>
                      <a:pt x="969" y="144"/>
                    </a:lnTo>
                    <a:lnTo>
                      <a:pt x="960" y="145"/>
                    </a:lnTo>
                    <a:lnTo>
                      <a:pt x="955" y="146"/>
                    </a:lnTo>
                    <a:lnTo>
                      <a:pt x="947" y="146"/>
                    </a:lnTo>
                    <a:lnTo>
                      <a:pt x="938" y="146"/>
                    </a:lnTo>
                    <a:lnTo>
                      <a:pt x="929" y="147"/>
                    </a:lnTo>
                    <a:lnTo>
                      <a:pt x="922" y="147"/>
                    </a:lnTo>
                    <a:lnTo>
                      <a:pt x="912" y="147"/>
                    </a:lnTo>
                    <a:lnTo>
                      <a:pt x="904" y="148"/>
                    </a:lnTo>
                    <a:lnTo>
                      <a:pt x="898" y="148"/>
                    </a:lnTo>
                    <a:lnTo>
                      <a:pt x="889" y="149"/>
                    </a:lnTo>
                    <a:lnTo>
                      <a:pt x="887" y="149"/>
                    </a:lnTo>
                    <a:lnTo>
                      <a:pt x="890" y="149"/>
                    </a:lnTo>
                    <a:lnTo>
                      <a:pt x="890" y="150"/>
                    </a:lnTo>
                    <a:lnTo>
                      <a:pt x="888" y="151"/>
                    </a:lnTo>
                    <a:lnTo>
                      <a:pt x="891" y="152"/>
                    </a:lnTo>
                    <a:lnTo>
                      <a:pt x="890" y="152"/>
                    </a:lnTo>
                    <a:lnTo>
                      <a:pt x="892" y="153"/>
                    </a:lnTo>
                    <a:lnTo>
                      <a:pt x="891" y="153"/>
                    </a:lnTo>
                    <a:lnTo>
                      <a:pt x="891" y="154"/>
                    </a:lnTo>
                    <a:lnTo>
                      <a:pt x="893" y="156"/>
                    </a:lnTo>
                    <a:lnTo>
                      <a:pt x="892" y="156"/>
                    </a:lnTo>
                    <a:lnTo>
                      <a:pt x="890" y="158"/>
                    </a:lnTo>
                    <a:lnTo>
                      <a:pt x="891" y="159"/>
                    </a:lnTo>
                    <a:lnTo>
                      <a:pt x="890" y="161"/>
                    </a:lnTo>
                    <a:lnTo>
                      <a:pt x="887" y="163"/>
                    </a:lnTo>
                    <a:lnTo>
                      <a:pt x="882" y="166"/>
                    </a:lnTo>
                    <a:lnTo>
                      <a:pt x="880" y="168"/>
                    </a:lnTo>
                    <a:lnTo>
                      <a:pt x="876" y="170"/>
                    </a:lnTo>
                    <a:lnTo>
                      <a:pt x="872" y="171"/>
                    </a:lnTo>
                    <a:lnTo>
                      <a:pt x="870" y="173"/>
                    </a:lnTo>
                    <a:lnTo>
                      <a:pt x="864" y="175"/>
                    </a:lnTo>
                    <a:lnTo>
                      <a:pt x="859" y="177"/>
                    </a:lnTo>
                    <a:lnTo>
                      <a:pt x="853" y="179"/>
                    </a:lnTo>
                    <a:lnTo>
                      <a:pt x="845" y="181"/>
                    </a:lnTo>
                    <a:lnTo>
                      <a:pt x="839" y="183"/>
                    </a:lnTo>
                    <a:lnTo>
                      <a:pt x="832" y="184"/>
                    </a:lnTo>
                    <a:lnTo>
                      <a:pt x="824" y="185"/>
                    </a:lnTo>
                    <a:lnTo>
                      <a:pt x="818" y="187"/>
                    </a:lnTo>
                    <a:lnTo>
                      <a:pt x="806" y="188"/>
                    </a:lnTo>
                    <a:lnTo>
                      <a:pt x="815" y="190"/>
                    </a:lnTo>
                    <a:lnTo>
                      <a:pt x="819" y="192"/>
                    </a:lnTo>
                    <a:lnTo>
                      <a:pt x="826" y="193"/>
                    </a:lnTo>
                    <a:lnTo>
                      <a:pt x="830" y="195"/>
                    </a:lnTo>
                    <a:lnTo>
                      <a:pt x="835" y="198"/>
                    </a:lnTo>
                    <a:lnTo>
                      <a:pt x="838" y="199"/>
                    </a:lnTo>
                    <a:lnTo>
                      <a:pt x="845" y="201"/>
                    </a:lnTo>
                    <a:lnTo>
                      <a:pt x="847" y="203"/>
                    </a:lnTo>
                    <a:lnTo>
                      <a:pt x="850" y="206"/>
                    </a:lnTo>
                    <a:lnTo>
                      <a:pt x="852" y="207"/>
                    </a:lnTo>
                    <a:lnTo>
                      <a:pt x="854" y="210"/>
                    </a:lnTo>
                    <a:lnTo>
                      <a:pt x="855" y="211"/>
                    </a:lnTo>
                    <a:lnTo>
                      <a:pt x="855" y="213"/>
                    </a:lnTo>
                    <a:lnTo>
                      <a:pt x="856" y="215"/>
                    </a:lnTo>
                    <a:lnTo>
                      <a:pt x="855" y="217"/>
                    </a:lnTo>
                    <a:lnTo>
                      <a:pt x="856" y="219"/>
                    </a:lnTo>
                    <a:lnTo>
                      <a:pt x="854" y="222"/>
                    </a:lnTo>
                    <a:lnTo>
                      <a:pt x="853" y="223"/>
                    </a:lnTo>
                    <a:lnTo>
                      <a:pt x="848" y="226"/>
                    </a:lnTo>
                    <a:lnTo>
                      <a:pt x="843" y="228"/>
                    </a:lnTo>
                    <a:lnTo>
                      <a:pt x="842" y="230"/>
                    </a:lnTo>
                    <a:lnTo>
                      <a:pt x="836" y="231"/>
                    </a:lnTo>
                    <a:lnTo>
                      <a:pt x="833" y="233"/>
                    </a:lnTo>
                    <a:lnTo>
                      <a:pt x="828" y="234"/>
                    </a:lnTo>
                    <a:lnTo>
                      <a:pt x="819" y="236"/>
                    </a:lnTo>
                    <a:lnTo>
                      <a:pt x="815" y="238"/>
                    </a:lnTo>
                    <a:lnTo>
                      <a:pt x="805" y="239"/>
                    </a:lnTo>
                    <a:lnTo>
                      <a:pt x="799" y="241"/>
                    </a:lnTo>
                    <a:lnTo>
                      <a:pt x="792" y="242"/>
                    </a:lnTo>
                    <a:lnTo>
                      <a:pt x="784" y="243"/>
                    </a:lnTo>
                    <a:lnTo>
                      <a:pt x="775" y="244"/>
                    </a:lnTo>
                    <a:lnTo>
                      <a:pt x="766" y="246"/>
                    </a:lnTo>
                    <a:lnTo>
                      <a:pt x="758" y="247"/>
                    </a:lnTo>
                    <a:lnTo>
                      <a:pt x="746" y="248"/>
                    </a:lnTo>
                    <a:lnTo>
                      <a:pt x="738" y="248"/>
                    </a:lnTo>
                    <a:lnTo>
                      <a:pt x="727" y="249"/>
                    </a:lnTo>
                    <a:lnTo>
                      <a:pt x="716" y="249"/>
                    </a:lnTo>
                    <a:lnTo>
                      <a:pt x="704" y="250"/>
                    </a:lnTo>
                    <a:lnTo>
                      <a:pt x="693" y="251"/>
                    </a:lnTo>
                    <a:lnTo>
                      <a:pt x="682" y="251"/>
                    </a:lnTo>
                    <a:lnTo>
                      <a:pt x="673" y="251"/>
                    </a:lnTo>
                    <a:lnTo>
                      <a:pt x="658" y="251"/>
                    </a:lnTo>
                    <a:lnTo>
                      <a:pt x="646" y="251"/>
                    </a:lnTo>
                    <a:lnTo>
                      <a:pt x="637" y="251"/>
                    </a:lnTo>
                    <a:lnTo>
                      <a:pt x="623" y="251"/>
                    </a:lnTo>
                    <a:lnTo>
                      <a:pt x="610" y="250"/>
                    </a:lnTo>
                    <a:lnTo>
                      <a:pt x="596" y="250"/>
                    </a:lnTo>
                    <a:lnTo>
                      <a:pt x="582" y="249"/>
                    </a:lnTo>
                    <a:lnTo>
                      <a:pt x="579" y="249"/>
                    </a:lnTo>
                    <a:lnTo>
                      <a:pt x="576" y="249"/>
                    </a:lnTo>
                    <a:lnTo>
                      <a:pt x="573" y="249"/>
                    </a:lnTo>
                    <a:lnTo>
                      <a:pt x="569" y="249"/>
                    </a:lnTo>
                    <a:lnTo>
                      <a:pt x="567" y="249"/>
                    </a:lnTo>
                    <a:lnTo>
                      <a:pt x="564" y="249"/>
                    </a:lnTo>
                    <a:lnTo>
                      <a:pt x="563" y="248"/>
                    </a:lnTo>
                    <a:lnTo>
                      <a:pt x="560" y="248"/>
                    </a:lnTo>
                    <a:lnTo>
                      <a:pt x="557" y="248"/>
                    </a:lnTo>
                    <a:lnTo>
                      <a:pt x="554" y="248"/>
                    </a:lnTo>
                    <a:lnTo>
                      <a:pt x="551" y="247"/>
                    </a:lnTo>
                    <a:lnTo>
                      <a:pt x="548" y="248"/>
                    </a:lnTo>
                    <a:lnTo>
                      <a:pt x="543" y="247"/>
                    </a:lnTo>
                    <a:lnTo>
                      <a:pt x="541" y="246"/>
                    </a:lnTo>
                    <a:lnTo>
                      <a:pt x="537" y="247"/>
                    </a:lnTo>
                    <a:lnTo>
                      <a:pt x="531" y="248"/>
                    </a:lnTo>
                    <a:lnTo>
                      <a:pt x="527" y="248"/>
                    </a:lnTo>
                    <a:lnTo>
                      <a:pt x="525" y="249"/>
                    </a:lnTo>
                    <a:lnTo>
                      <a:pt x="517" y="250"/>
                    </a:lnTo>
                    <a:lnTo>
                      <a:pt x="511" y="249"/>
                    </a:lnTo>
                    <a:lnTo>
                      <a:pt x="506" y="250"/>
                    </a:lnTo>
                    <a:lnTo>
                      <a:pt x="501" y="251"/>
                    </a:lnTo>
                    <a:lnTo>
                      <a:pt x="494" y="251"/>
                    </a:lnTo>
                    <a:lnTo>
                      <a:pt x="491" y="251"/>
                    </a:lnTo>
                    <a:lnTo>
                      <a:pt x="482" y="251"/>
                    </a:lnTo>
                    <a:lnTo>
                      <a:pt x="479" y="251"/>
                    </a:lnTo>
                    <a:lnTo>
                      <a:pt x="473" y="252"/>
                    </a:lnTo>
                    <a:lnTo>
                      <a:pt x="469" y="252"/>
                    </a:lnTo>
                    <a:lnTo>
                      <a:pt x="460" y="253"/>
                    </a:lnTo>
                    <a:lnTo>
                      <a:pt x="454" y="253"/>
                    </a:lnTo>
                    <a:lnTo>
                      <a:pt x="449" y="253"/>
                    </a:lnTo>
                    <a:lnTo>
                      <a:pt x="441" y="253"/>
                    </a:lnTo>
                    <a:lnTo>
                      <a:pt x="435" y="253"/>
                    </a:lnTo>
                    <a:lnTo>
                      <a:pt x="430" y="254"/>
                    </a:lnTo>
                    <a:lnTo>
                      <a:pt x="423" y="253"/>
                    </a:lnTo>
                    <a:lnTo>
                      <a:pt x="419" y="253"/>
                    </a:lnTo>
                    <a:lnTo>
                      <a:pt x="411" y="253"/>
                    </a:lnTo>
                    <a:lnTo>
                      <a:pt x="404" y="253"/>
                    </a:lnTo>
                    <a:lnTo>
                      <a:pt x="398" y="253"/>
                    </a:lnTo>
                    <a:lnTo>
                      <a:pt x="393" y="253"/>
                    </a:lnTo>
                    <a:lnTo>
                      <a:pt x="385" y="252"/>
                    </a:lnTo>
                    <a:lnTo>
                      <a:pt x="379" y="253"/>
                    </a:lnTo>
                    <a:lnTo>
                      <a:pt x="371" y="253"/>
                    </a:lnTo>
                    <a:lnTo>
                      <a:pt x="367" y="252"/>
                    </a:lnTo>
                    <a:lnTo>
                      <a:pt x="358" y="252"/>
                    </a:lnTo>
                    <a:lnTo>
                      <a:pt x="350" y="251"/>
                    </a:lnTo>
                    <a:lnTo>
                      <a:pt x="337" y="251"/>
                    </a:lnTo>
                    <a:lnTo>
                      <a:pt x="325" y="250"/>
                    </a:lnTo>
                    <a:lnTo>
                      <a:pt x="315" y="248"/>
                    </a:lnTo>
                    <a:lnTo>
                      <a:pt x="302" y="248"/>
                    </a:lnTo>
                    <a:lnTo>
                      <a:pt x="290" y="247"/>
                    </a:lnTo>
                    <a:lnTo>
                      <a:pt x="276" y="246"/>
                    </a:lnTo>
                    <a:lnTo>
                      <a:pt x="267" y="244"/>
                    </a:lnTo>
                    <a:lnTo>
                      <a:pt x="255" y="243"/>
                    </a:lnTo>
                    <a:lnTo>
                      <a:pt x="245" y="241"/>
                    </a:lnTo>
                    <a:lnTo>
                      <a:pt x="235" y="240"/>
                    </a:lnTo>
                    <a:lnTo>
                      <a:pt x="223" y="239"/>
                    </a:lnTo>
                    <a:lnTo>
                      <a:pt x="213" y="237"/>
                    </a:lnTo>
                    <a:lnTo>
                      <a:pt x="204" y="235"/>
                    </a:lnTo>
                    <a:lnTo>
                      <a:pt x="197" y="233"/>
                    </a:lnTo>
                    <a:lnTo>
                      <a:pt x="190" y="231"/>
                    </a:lnTo>
                    <a:lnTo>
                      <a:pt x="181" y="230"/>
                    </a:lnTo>
                    <a:lnTo>
                      <a:pt x="173" y="228"/>
                    </a:lnTo>
                    <a:lnTo>
                      <a:pt x="165" y="227"/>
                    </a:lnTo>
                    <a:lnTo>
                      <a:pt x="158" y="223"/>
                    </a:lnTo>
                    <a:lnTo>
                      <a:pt x="151" y="222"/>
                    </a:lnTo>
                    <a:lnTo>
                      <a:pt x="146" y="220"/>
                    </a:lnTo>
                    <a:lnTo>
                      <a:pt x="141" y="218"/>
                    </a:lnTo>
                    <a:lnTo>
                      <a:pt x="138" y="216"/>
                    </a:lnTo>
                    <a:lnTo>
                      <a:pt x="132" y="213"/>
                    </a:lnTo>
                    <a:lnTo>
                      <a:pt x="129" y="211"/>
                    </a:lnTo>
                    <a:lnTo>
                      <a:pt x="125" y="209"/>
                    </a:lnTo>
                    <a:lnTo>
                      <a:pt x="125" y="207"/>
                    </a:lnTo>
                    <a:lnTo>
                      <a:pt x="122" y="204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2" y="193"/>
                    </a:lnTo>
                    <a:lnTo>
                      <a:pt x="123" y="192"/>
                    </a:lnTo>
                    <a:lnTo>
                      <a:pt x="126" y="191"/>
                    </a:lnTo>
                    <a:lnTo>
                      <a:pt x="125" y="189"/>
                    </a:lnTo>
                    <a:lnTo>
                      <a:pt x="128" y="188"/>
                    </a:lnTo>
                    <a:lnTo>
                      <a:pt x="131" y="188"/>
                    </a:lnTo>
                    <a:lnTo>
                      <a:pt x="133" y="186"/>
                    </a:lnTo>
                    <a:lnTo>
                      <a:pt x="136" y="185"/>
                    </a:lnTo>
                    <a:lnTo>
                      <a:pt x="139" y="184"/>
                    </a:lnTo>
                    <a:lnTo>
                      <a:pt x="140" y="183"/>
                    </a:lnTo>
                    <a:lnTo>
                      <a:pt x="142" y="182"/>
                    </a:lnTo>
                    <a:lnTo>
                      <a:pt x="146" y="181"/>
                    </a:lnTo>
                    <a:lnTo>
                      <a:pt x="149" y="180"/>
                    </a:lnTo>
                    <a:lnTo>
                      <a:pt x="150" y="179"/>
                    </a:lnTo>
                    <a:lnTo>
                      <a:pt x="155" y="179"/>
                    </a:lnTo>
                    <a:lnTo>
                      <a:pt x="147" y="179"/>
                    </a:lnTo>
                    <a:lnTo>
                      <a:pt x="140" y="177"/>
                    </a:lnTo>
                    <a:lnTo>
                      <a:pt x="130" y="176"/>
                    </a:lnTo>
                    <a:lnTo>
                      <a:pt x="121" y="176"/>
                    </a:lnTo>
                    <a:lnTo>
                      <a:pt x="114" y="174"/>
                    </a:lnTo>
                    <a:lnTo>
                      <a:pt x="105" y="173"/>
                    </a:lnTo>
                    <a:lnTo>
                      <a:pt x="98" y="172"/>
                    </a:lnTo>
                    <a:lnTo>
                      <a:pt x="90" y="171"/>
                    </a:lnTo>
                    <a:lnTo>
                      <a:pt x="82" y="170"/>
                    </a:lnTo>
                    <a:lnTo>
                      <a:pt x="76" y="170"/>
                    </a:lnTo>
                    <a:lnTo>
                      <a:pt x="69" y="168"/>
                    </a:lnTo>
                    <a:lnTo>
                      <a:pt x="63" y="167"/>
                    </a:lnTo>
                    <a:lnTo>
                      <a:pt x="59" y="166"/>
                    </a:lnTo>
                    <a:lnTo>
                      <a:pt x="52" y="164"/>
                    </a:lnTo>
                    <a:lnTo>
                      <a:pt x="48" y="163"/>
                    </a:lnTo>
                    <a:lnTo>
                      <a:pt x="41" y="161"/>
                    </a:lnTo>
                    <a:lnTo>
                      <a:pt x="36" y="160"/>
                    </a:lnTo>
                    <a:lnTo>
                      <a:pt x="29" y="158"/>
                    </a:lnTo>
                    <a:lnTo>
                      <a:pt x="26" y="157"/>
                    </a:lnTo>
                    <a:lnTo>
                      <a:pt x="22" y="156"/>
                    </a:lnTo>
                    <a:lnTo>
                      <a:pt x="18" y="154"/>
                    </a:lnTo>
                    <a:lnTo>
                      <a:pt x="14" y="153"/>
                    </a:lnTo>
                    <a:lnTo>
                      <a:pt x="11" y="151"/>
                    </a:lnTo>
                    <a:lnTo>
                      <a:pt x="8" y="149"/>
                    </a:lnTo>
                    <a:lnTo>
                      <a:pt x="7" y="147"/>
                    </a:lnTo>
                    <a:lnTo>
                      <a:pt x="3" y="146"/>
                    </a:lnTo>
                    <a:lnTo>
                      <a:pt x="3" y="145"/>
                    </a:lnTo>
                    <a:lnTo>
                      <a:pt x="0" y="143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0" y="138"/>
                    </a:lnTo>
                    <a:lnTo>
                      <a:pt x="1" y="137"/>
                    </a:lnTo>
                    <a:lnTo>
                      <a:pt x="1" y="136"/>
                    </a:lnTo>
                    <a:lnTo>
                      <a:pt x="2" y="133"/>
                    </a:lnTo>
                    <a:lnTo>
                      <a:pt x="5" y="132"/>
                    </a:lnTo>
                    <a:lnTo>
                      <a:pt x="8" y="131"/>
                    </a:lnTo>
                    <a:lnTo>
                      <a:pt x="9" y="130"/>
                    </a:lnTo>
                    <a:lnTo>
                      <a:pt x="11" y="129"/>
                    </a:lnTo>
                    <a:lnTo>
                      <a:pt x="16" y="127"/>
                    </a:lnTo>
                    <a:lnTo>
                      <a:pt x="20" y="126"/>
                    </a:lnTo>
                    <a:lnTo>
                      <a:pt x="21" y="125"/>
                    </a:lnTo>
                    <a:lnTo>
                      <a:pt x="27" y="124"/>
                    </a:lnTo>
                    <a:lnTo>
                      <a:pt x="28" y="123"/>
                    </a:lnTo>
                    <a:lnTo>
                      <a:pt x="33" y="122"/>
                    </a:lnTo>
                    <a:lnTo>
                      <a:pt x="37" y="121"/>
                    </a:lnTo>
                    <a:lnTo>
                      <a:pt x="43" y="120"/>
                    </a:lnTo>
                    <a:lnTo>
                      <a:pt x="48" y="119"/>
                    </a:lnTo>
                    <a:lnTo>
                      <a:pt x="55" y="118"/>
                    </a:lnTo>
                    <a:lnTo>
                      <a:pt x="59" y="117"/>
                    </a:lnTo>
                    <a:lnTo>
                      <a:pt x="65" y="117"/>
                    </a:lnTo>
                    <a:lnTo>
                      <a:pt x="70" y="116"/>
                    </a:lnTo>
                    <a:lnTo>
                      <a:pt x="75" y="115"/>
                    </a:lnTo>
                    <a:lnTo>
                      <a:pt x="81" y="115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101" y="113"/>
                    </a:lnTo>
                    <a:lnTo>
                      <a:pt x="111" y="114"/>
                    </a:lnTo>
                    <a:lnTo>
                      <a:pt x="116" y="113"/>
                    </a:lnTo>
                    <a:lnTo>
                      <a:pt x="125" y="112"/>
                    </a:lnTo>
                    <a:lnTo>
                      <a:pt x="130" y="113"/>
                    </a:lnTo>
                    <a:lnTo>
                      <a:pt x="137" y="112"/>
                    </a:lnTo>
                    <a:lnTo>
                      <a:pt x="147" y="112"/>
                    </a:lnTo>
                    <a:lnTo>
                      <a:pt x="155" y="112"/>
                    </a:lnTo>
                    <a:lnTo>
                      <a:pt x="162" y="112"/>
                    </a:lnTo>
                    <a:lnTo>
                      <a:pt x="159" y="111"/>
                    </a:lnTo>
                    <a:lnTo>
                      <a:pt x="155" y="110"/>
                    </a:lnTo>
                    <a:lnTo>
                      <a:pt x="151" y="109"/>
                    </a:lnTo>
                    <a:lnTo>
                      <a:pt x="146" y="108"/>
                    </a:lnTo>
                    <a:lnTo>
                      <a:pt x="141" y="107"/>
                    </a:lnTo>
                    <a:lnTo>
                      <a:pt x="138" y="105"/>
                    </a:lnTo>
                    <a:lnTo>
                      <a:pt x="134" y="106"/>
                    </a:lnTo>
                    <a:lnTo>
                      <a:pt x="130" y="104"/>
                    </a:lnTo>
                    <a:lnTo>
                      <a:pt x="126" y="103"/>
                    </a:lnTo>
                    <a:lnTo>
                      <a:pt x="125" y="102"/>
                    </a:lnTo>
                    <a:lnTo>
                      <a:pt x="120" y="101"/>
                    </a:lnTo>
                    <a:lnTo>
                      <a:pt x="119" y="100"/>
                    </a:lnTo>
                    <a:lnTo>
                      <a:pt x="116" y="98"/>
                    </a:lnTo>
                    <a:lnTo>
                      <a:pt x="112" y="97"/>
                    </a:lnTo>
                    <a:lnTo>
                      <a:pt x="110" y="96"/>
                    </a:lnTo>
                    <a:lnTo>
                      <a:pt x="110" y="94"/>
                    </a:lnTo>
                    <a:lnTo>
                      <a:pt x="107" y="93"/>
                    </a:lnTo>
                    <a:lnTo>
                      <a:pt x="104" y="92"/>
                    </a:lnTo>
                    <a:lnTo>
                      <a:pt x="103" y="91"/>
                    </a:lnTo>
                    <a:lnTo>
                      <a:pt x="100" y="90"/>
                    </a:lnTo>
                    <a:lnTo>
                      <a:pt x="97" y="89"/>
                    </a:lnTo>
                    <a:lnTo>
                      <a:pt x="97" y="87"/>
                    </a:lnTo>
                    <a:lnTo>
                      <a:pt x="95" y="86"/>
                    </a:lnTo>
                    <a:lnTo>
                      <a:pt x="96" y="84"/>
                    </a:lnTo>
                    <a:lnTo>
                      <a:pt x="94" y="83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79"/>
                    </a:lnTo>
                    <a:lnTo>
                      <a:pt x="94" y="78"/>
                    </a:lnTo>
                    <a:lnTo>
                      <a:pt x="95" y="76"/>
                    </a:lnTo>
                    <a:lnTo>
                      <a:pt x="95" y="75"/>
                    </a:lnTo>
                    <a:lnTo>
                      <a:pt x="98" y="73"/>
                    </a:lnTo>
                    <a:lnTo>
                      <a:pt x="103" y="70"/>
                    </a:lnTo>
                    <a:lnTo>
                      <a:pt x="104" y="68"/>
                    </a:lnTo>
                    <a:lnTo>
                      <a:pt x="106" y="67"/>
                    </a:lnTo>
                    <a:lnTo>
                      <a:pt x="111" y="65"/>
                    </a:lnTo>
                    <a:lnTo>
                      <a:pt x="116" y="63"/>
                    </a:lnTo>
                    <a:lnTo>
                      <a:pt x="120" y="62"/>
                    </a:lnTo>
                    <a:lnTo>
                      <a:pt x="128" y="60"/>
                    </a:lnTo>
                    <a:lnTo>
                      <a:pt x="131" y="59"/>
                    </a:lnTo>
                    <a:lnTo>
                      <a:pt x="138" y="57"/>
                    </a:lnTo>
                    <a:lnTo>
                      <a:pt x="145" y="56"/>
                    </a:lnTo>
                    <a:lnTo>
                      <a:pt x="152" y="54"/>
                    </a:lnTo>
                    <a:lnTo>
                      <a:pt x="160" y="53"/>
                    </a:lnTo>
                    <a:lnTo>
                      <a:pt x="166" y="53"/>
                    </a:lnTo>
                    <a:lnTo>
                      <a:pt x="174" y="51"/>
                    </a:lnTo>
                    <a:lnTo>
                      <a:pt x="184" y="50"/>
                    </a:lnTo>
                    <a:lnTo>
                      <a:pt x="193" y="49"/>
                    </a:lnTo>
                    <a:lnTo>
                      <a:pt x="201" y="48"/>
                    </a:lnTo>
                    <a:lnTo>
                      <a:pt x="212" y="47"/>
                    </a:lnTo>
                    <a:lnTo>
                      <a:pt x="223" y="47"/>
                    </a:lnTo>
                    <a:lnTo>
                      <a:pt x="231" y="46"/>
                    </a:lnTo>
                    <a:lnTo>
                      <a:pt x="241" y="46"/>
                    </a:lnTo>
                    <a:lnTo>
                      <a:pt x="253" y="45"/>
                    </a:lnTo>
                    <a:lnTo>
                      <a:pt x="263" y="45"/>
                    </a:lnTo>
                    <a:lnTo>
                      <a:pt x="275" y="45"/>
                    </a:lnTo>
                    <a:lnTo>
                      <a:pt x="286" y="45"/>
                    </a:lnTo>
                    <a:lnTo>
                      <a:pt x="297" y="45"/>
                    </a:lnTo>
                    <a:lnTo>
                      <a:pt x="308" y="45"/>
                    </a:lnTo>
                    <a:lnTo>
                      <a:pt x="320" y="45"/>
                    </a:lnTo>
                    <a:lnTo>
                      <a:pt x="332" y="45"/>
                    </a:lnTo>
                    <a:lnTo>
                      <a:pt x="344" y="46"/>
                    </a:lnTo>
                    <a:lnTo>
                      <a:pt x="342" y="44"/>
                    </a:lnTo>
                    <a:lnTo>
                      <a:pt x="342" y="43"/>
                    </a:lnTo>
                    <a:lnTo>
                      <a:pt x="340" y="43"/>
                    </a:lnTo>
                    <a:lnTo>
                      <a:pt x="340" y="42"/>
                    </a:lnTo>
                    <a:lnTo>
                      <a:pt x="340" y="41"/>
                    </a:lnTo>
                    <a:lnTo>
                      <a:pt x="339" y="41"/>
                    </a:lnTo>
                    <a:lnTo>
                      <a:pt x="339" y="39"/>
                    </a:lnTo>
                    <a:lnTo>
                      <a:pt x="338" y="38"/>
                    </a:lnTo>
                    <a:lnTo>
                      <a:pt x="338" y="37"/>
                    </a:lnTo>
                    <a:lnTo>
                      <a:pt x="338" y="36"/>
                    </a:lnTo>
                    <a:lnTo>
                      <a:pt x="338" y="35"/>
                    </a:lnTo>
                    <a:lnTo>
                      <a:pt x="338" y="34"/>
                    </a:lnTo>
                    <a:lnTo>
                      <a:pt x="339" y="33"/>
                    </a:lnTo>
                    <a:lnTo>
                      <a:pt x="339" y="32"/>
                    </a:lnTo>
                    <a:lnTo>
                      <a:pt x="339" y="29"/>
                    </a:lnTo>
                    <a:lnTo>
                      <a:pt x="342" y="27"/>
                    </a:lnTo>
                    <a:lnTo>
                      <a:pt x="345" y="26"/>
                    </a:lnTo>
                    <a:lnTo>
                      <a:pt x="347" y="23"/>
                    </a:lnTo>
                    <a:lnTo>
                      <a:pt x="350" y="21"/>
                    </a:lnTo>
                    <a:lnTo>
                      <a:pt x="356" y="20"/>
                    </a:lnTo>
                    <a:lnTo>
                      <a:pt x="360" y="18"/>
                    </a:lnTo>
                    <a:lnTo>
                      <a:pt x="367" y="17"/>
                    </a:lnTo>
                    <a:lnTo>
                      <a:pt x="373" y="14"/>
                    </a:lnTo>
                    <a:lnTo>
                      <a:pt x="381" y="13"/>
                    </a:lnTo>
                    <a:lnTo>
                      <a:pt x="385" y="11"/>
                    </a:lnTo>
                    <a:lnTo>
                      <a:pt x="391" y="10"/>
                    </a:lnTo>
                    <a:lnTo>
                      <a:pt x="399" y="9"/>
                    </a:lnTo>
                    <a:lnTo>
                      <a:pt x="410" y="7"/>
                    </a:lnTo>
                    <a:lnTo>
                      <a:pt x="418" y="7"/>
                    </a:lnTo>
                    <a:lnTo>
                      <a:pt x="428" y="5"/>
                    </a:lnTo>
                    <a:lnTo>
                      <a:pt x="436" y="4"/>
                    </a:lnTo>
                    <a:lnTo>
                      <a:pt x="444" y="3"/>
                    </a:lnTo>
                    <a:lnTo>
                      <a:pt x="454" y="3"/>
                    </a:lnTo>
                    <a:lnTo>
                      <a:pt x="466" y="2"/>
                    </a:lnTo>
                    <a:lnTo>
                      <a:pt x="477" y="1"/>
                    </a:lnTo>
                    <a:lnTo>
                      <a:pt x="489" y="1"/>
                    </a:lnTo>
                    <a:lnTo>
                      <a:pt x="499" y="0"/>
                    </a:lnTo>
                    <a:lnTo>
                      <a:pt x="511" y="0"/>
                    </a:lnTo>
                    <a:lnTo>
                      <a:pt x="524" y="0"/>
                    </a:lnTo>
                    <a:lnTo>
                      <a:pt x="535" y="0"/>
                    </a:lnTo>
                    <a:lnTo>
                      <a:pt x="546" y="0"/>
                    </a:lnTo>
                    <a:lnTo>
                      <a:pt x="559" y="0"/>
                    </a:lnTo>
                    <a:lnTo>
                      <a:pt x="572" y="0"/>
                    </a:lnTo>
                    <a:lnTo>
                      <a:pt x="584" y="0"/>
                    </a:lnTo>
                    <a:lnTo>
                      <a:pt x="595" y="0"/>
                    </a:lnTo>
                    <a:lnTo>
                      <a:pt x="611" y="1"/>
                    </a:lnTo>
                    <a:lnTo>
                      <a:pt x="623" y="2"/>
                    </a:lnTo>
                    <a:lnTo>
                      <a:pt x="636" y="3"/>
                    </a:lnTo>
                    <a:lnTo>
                      <a:pt x="647" y="3"/>
                    </a:lnTo>
                    <a:lnTo>
                      <a:pt x="660" y="5"/>
                    </a:lnTo>
                    <a:lnTo>
                      <a:pt x="673" y="7"/>
                    </a:lnTo>
                    <a:lnTo>
                      <a:pt x="686" y="7"/>
                    </a:lnTo>
                    <a:lnTo>
                      <a:pt x="696" y="9"/>
                    </a:lnTo>
                    <a:lnTo>
                      <a:pt x="706" y="10"/>
                    </a:lnTo>
                    <a:lnTo>
                      <a:pt x="715" y="11"/>
                    </a:lnTo>
                    <a:lnTo>
                      <a:pt x="728" y="12"/>
                    </a:lnTo>
                    <a:lnTo>
                      <a:pt x="737" y="14"/>
                    </a:lnTo>
                    <a:lnTo>
                      <a:pt x="747" y="16"/>
                    </a:lnTo>
                    <a:lnTo>
                      <a:pt x="757" y="18"/>
                    </a:lnTo>
                    <a:lnTo>
                      <a:pt x="764" y="19"/>
                    </a:lnTo>
                    <a:lnTo>
                      <a:pt x="773" y="22"/>
                    </a:lnTo>
                    <a:lnTo>
                      <a:pt x="780" y="23"/>
                    </a:lnTo>
                    <a:lnTo>
                      <a:pt x="789" y="25"/>
                    </a:lnTo>
                    <a:lnTo>
                      <a:pt x="796" y="27"/>
                    </a:lnTo>
                    <a:lnTo>
                      <a:pt x="801" y="29"/>
                    </a:lnTo>
                    <a:lnTo>
                      <a:pt x="808" y="31"/>
                    </a:lnTo>
                    <a:lnTo>
                      <a:pt x="815" y="32"/>
                    </a:lnTo>
                    <a:lnTo>
                      <a:pt x="820" y="35"/>
                    </a:lnTo>
                    <a:lnTo>
                      <a:pt x="824" y="36"/>
                    </a:lnTo>
                    <a:lnTo>
                      <a:pt x="828" y="40"/>
                    </a:lnTo>
                    <a:lnTo>
                      <a:pt x="832" y="41"/>
                    </a:lnTo>
                    <a:lnTo>
                      <a:pt x="835" y="44"/>
                    </a:lnTo>
                    <a:lnTo>
                      <a:pt x="836" y="46"/>
                    </a:lnTo>
                    <a:lnTo>
                      <a:pt x="839" y="48"/>
                    </a:lnTo>
                    <a:lnTo>
                      <a:pt x="840" y="50"/>
                    </a:lnTo>
                    <a:lnTo>
                      <a:pt x="840" y="52"/>
                    </a:lnTo>
                    <a:lnTo>
                      <a:pt x="839" y="55"/>
                    </a:lnTo>
                    <a:lnTo>
                      <a:pt x="841" y="57"/>
                    </a:lnTo>
                    <a:lnTo>
                      <a:pt x="839" y="58"/>
                    </a:lnTo>
                    <a:lnTo>
                      <a:pt x="838" y="59"/>
                    </a:lnTo>
                    <a:lnTo>
                      <a:pt x="837" y="60"/>
                    </a:lnTo>
                    <a:lnTo>
                      <a:pt x="835" y="61"/>
                    </a:lnTo>
                  </a:path>
                </a:pathLst>
              </a:custGeom>
              <a:gradFill rotWithShape="0">
                <a:gsLst>
                  <a:gs pos="0">
                    <a:srgbClr val="999999"/>
                  </a:gs>
                  <a:gs pos="50000">
                    <a:srgbClr val="FFFFFF"/>
                  </a:gs>
                  <a:gs pos="100000">
                    <a:srgbClr val="999999"/>
                  </a:gs>
                </a:gsLst>
                <a:lin ang="18900000" scaled="1"/>
              </a:gra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8" name="Rectangle 1233"/>
              <p:cNvSpPr>
                <a:spLocks noChangeArrowheads="1"/>
              </p:cNvSpPr>
              <p:nvPr/>
            </p:nvSpPr>
            <p:spPr bwMode="auto">
              <a:xfrm>
                <a:off x="4461" y="2993"/>
                <a:ext cx="247" cy="1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2075" tIns="46038" rIns="92075" bIns="46038">
                <a:spAutoFit/>
              </a:bodyPr>
              <a:lstStyle/>
              <a:p>
                <a:pPr algn="ctr" eaLnBrk="0" latinLnBrk="0" hangingPunct="0">
                  <a:lnSpc>
                    <a:spcPct val="95000"/>
                  </a:lnSpc>
                </a:pPr>
                <a:r>
                  <a:rPr kumimoji="0" lang="en-US" altLang="ko-KR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Internet</a:t>
                </a:r>
              </a:p>
            </p:txBody>
          </p:sp>
        </p:grpSp>
        <p:grpSp>
          <p:nvGrpSpPr>
            <p:cNvPr id="94" name="Group 1234"/>
            <p:cNvGrpSpPr>
              <a:grpSpLocks/>
            </p:cNvGrpSpPr>
            <p:nvPr/>
          </p:nvGrpSpPr>
          <p:grpSpPr bwMode="auto">
            <a:xfrm>
              <a:off x="2940227" y="4137458"/>
              <a:ext cx="1890507" cy="531749"/>
              <a:chOff x="4320" y="2919"/>
              <a:chExt cx="584" cy="312"/>
            </a:xfrm>
          </p:grpSpPr>
          <p:sp>
            <p:nvSpPr>
              <p:cNvPr id="95" name="Freeform 1235"/>
              <p:cNvSpPr>
                <a:spLocks/>
              </p:cNvSpPr>
              <p:nvPr/>
            </p:nvSpPr>
            <p:spPr bwMode="auto">
              <a:xfrm>
                <a:off x="4320" y="2919"/>
                <a:ext cx="584" cy="312"/>
              </a:xfrm>
              <a:custGeom>
                <a:avLst/>
                <a:gdLst>
                  <a:gd name="T0" fmla="*/ 504 w 1070"/>
                  <a:gd name="T1" fmla="*/ 83 h 255"/>
                  <a:gd name="T2" fmla="*/ 545 w 1070"/>
                  <a:gd name="T3" fmla="*/ 98 h 255"/>
                  <a:gd name="T4" fmla="*/ 574 w 1070"/>
                  <a:gd name="T5" fmla="*/ 119 h 255"/>
                  <a:gd name="T6" fmla="*/ 583 w 1070"/>
                  <a:gd name="T7" fmla="*/ 141 h 255"/>
                  <a:gd name="T8" fmla="*/ 574 w 1070"/>
                  <a:gd name="T9" fmla="*/ 155 h 255"/>
                  <a:gd name="T10" fmla="*/ 555 w 1070"/>
                  <a:gd name="T11" fmla="*/ 169 h 255"/>
                  <a:gd name="T12" fmla="*/ 524 w 1070"/>
                  <a:gd name="T13" fmla="*/ 177 h 255"/>
                  <a:gd name="T14" fmla="*/ 490 w 1070"/>
                  <a:gd name="T15" fmla="*/ 181 h 255"/>
                  <a:gd name="T16" fmla="*/ 487 w 1070"/>
                  <a:gd name="T17" fmla="*/ 187 h 255"/>
                  <a:gd name="T18" fmla="*/ 486 w 1070"/>
                  <a:gd name="T19" fmla="*/ 195 h 255"/>
                  <a:gd name="T20" fmla="*/ 475 w 1070"/>
                  <a:gd name="T21" fmla="*/ 212 h 255"/>
                  <a:gd name="T22" fmla="*/ 446 w 1070"/>
                  <a:gd name="T23" fmla="*/ 229 h 255"/>
                  <a:gd name="T24" fmla="*/ 461 w 1070"/>
                  <a:gd name="T25" fmla="*/ 246 h 255"/>
                  <a:gd name="T26" fmla="*/ 467 w 1070"/>
                  <a:gd name="T27" fmla="*/ 266 h 255"/>
                  <a:gd name="T28" fmla="*/ 455 w 1070"/>
                  <a:gd name="T29" fmla="*/ 285 h 255"/>
                  <a:gd name="T30" fmla="*/ 423 w 1070"/>
                  <a:gd name="T31" fmla="*/ 299 h 255"/>
                  <a:gd name="T32" fmla="*/ 378 w 1070"/>
                  <a:gd name="T33" fmla="*/ 307 h 255"/>
                  <a:gd name="T34" fmla="*/ 325 w 1070"/>
                  <a:gd name="T35" fmla="*/ 306 h 255"/>
                  <a:gd name="T36" fmla="*/ 308 w 1070"/>
                  <a:gd name="T37" fmla="*/ 305 h 255"/>
                  <a:gd name="T38" fmla="*/ 296 w 1070"/>
                  <a:gd name="T39" fmla="*/ 302 h 255"/>
                  <a:gd name="T40" fmla="*/ 276 w 1070"/>
                  <a:gd name="T41" fmla="*/ 306 h 255"/>
                  <a:gd name="T42" fmla="*/ 251 w 1070"/>
                  <a:gd name="T43" fmla="*/ 310 h 255"/>
                  <a:gd name="T44" fmla="*/ 224 w 1070"/>
                  <a:gd name="T45" fmla="*/ 310 h 255"/>
                  <a:gd name="T46" fmla="*/ 195 w 1070"/>
                  <a:gd name="T47" fmla="*/ 308 h 255"/>
                  <a:gd name="T48" fmla="*/ 146 w 1070"/>
                  <a:gd name="T49" fmla="*/ 299 h 255"/>
                  <a:gd name="T50" fmla="*/ 104 w 1070"/>
                  <a:gd name="T51" fmla="*/ 283 h 255"/>
                  <a:gd name="T52" fmla="*/ 75 w 1070"/>
                  <a:gd name="T53" fmla="*/ 264 h 255"/>
                  <a:gd name="T54" fmla="*/ 66 w 1070"/>
                  <a:gd name="T55" fmla="*/ 242 h 255"/>
                  <a:gd name="T56" fmla="*/ 71 w 1070"/>
                  <a:gd name="T57" fmla="*/ 230 h 255"/>
                  <a:gd name="T58" fmla="*/ 82 w 1070"/>
                  <a:gd name="T59" fmla="*/ 219 h 255"/>
                  <a:gd name="T60" fmla="*/ 53 w 1070"/>
                  <a:gd name="T61" fmla="*/ 210 h 255"/>
                  <a:gd name="T62" fmla="*/ 26 w 1070"/>
                  <a:gd name="T63" fmla="*/ 199 h 255"/>
                  <a:gd name="T64" fmla="*/ 6 w 1070"/>
                  <a:gd name="T65" fmla="*/ 185 h 255"/>
                  <a:gd name="T66" fmla="*/ 0 w 1070"/>
                  <a:gd name="T67" fmla="*/ 169 h 255"/>
                  <a:gd name="T68" fmla="*/ 9 w 1070"/>
                  <a:gd name="T69" fmla="*/ 155 h 255"/>
                  <a:gd name="T70" fmla="*/ 26 w 1070"/>
                  <a:gd name="T71" fmla="*/ 146 h 255"/>
                  <a:gd name="T72" fmla="*/ 51 w 1070"/>
                  <a:gd name="T73" fmla="*/ 139 h 255"/>
                  <a:gd name="T74" fmla="*/ 85 w 1070"/>
                  <a:gd name="T75" fmla="*/ 137 h 255"/>
                  <a:gd name="T76" fmla="*/ 73 w 1070"/>
                  <a:gd name="T77" fmla="*/ 130 h 255"/>
                  <a:gd name="T78" fmla="*/ 60 w 1070"/>
                  <a:gd name="T79" fmla="*/ 117 h 255"/>
                  <a:gd name="T80" fmla="*/ 53 w 1070"/>
                  <a:gd name="T81" fmla="*/ 106 h 255"/>
                  <a:gd name="T82" fmla="*/ 51 w 1070"/>
                  <a:gd name="T83" fmla="*/ 95 h 255"/>
                  <a:gd name="T84" fmla="*/ 63 w 1070"/>
                  <a:gd name="T85" fmla="*/ 77 h 255"/>
                  <a:gd name="T86" fmla="*/ 91 w 1070"/>
                  <a:gd name="T87" fmla="*/ 65 h 255"/>
                  <a:gd name="T88" fmla="*/ 132 w 1070"/>
                  <a:gd name="T89" fmla="*/ 56 h 255"/>
                  <a:gd name="T90" fmla="*/ 181 w 1070"/>
                  <a:gd name="T91" fmla="*/ 55 h 255"/>
                  <a:gd name="T92" fmla="*/ 185 w 1070"/>
                  <a:gd name="T93" fmla="*/ 48 h 255"/>
                  <a:gd name="T94" fmla="*/ 185 w 1070"/>
                  <a:gd name="T95" fmla="*/ 40 h 255"/>
                  <a:gd name="T96" fmla="*/ 196 w 1070"/>
                  <a:gd name="T97" fmla="*/ 22 h 255"/>
                  <a:gd name="T98" fmla="*/ 228 w 1070"/>
                  <a:gd name="T99" fmla="*/ 9 h 255"/>
                  <a:gd name="T100" fmla="*/ 272 w 1070"/>
                  <a:gd name="T101" fmla="*/ 0 h 255"/>
                  <a:gd name="T102" fmla="*/ 325 w 1070"/>
                  <a:gd name="T103" fmla="*/ 0 h 255"/>
                  <a:gd name="T104" fmla="*/ 380 w 1070"/>
                  <a:gd name="T105" fmla="*/ 11 h 255"/>
                  <a:gd name="T106" fmla="*/ 422 w 1070"/>
                  <a:gd name="T107" fmla="*/ 27 h 255"/>
                  <a:gd name="T108" fmla="*/ 450 w 1070"/>
                  <a:gd name="T109" fmla="*/ 44 h 255"/>
                  <a:gd name="T110" fmla="*/ 458 w 1070"/>
                  <a:gd name="T111" fmla="*/ 67 h 255"/>
                  <a:gd name="T112" fmla="*/ 457 w 1070"/>
                  <a:gd name="T113" fmla="*/ 73 h 25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070" h="255">
                    <a:moveTo>
                      <a:pt x="835" y="61"/>
                    </a:moveTo>
                    <a:lnTo>
                      <a:pt x="850" y="61"/>
                    </a:lnTo>
                    <a:lnTo>
                      <a:pt x="864" y="62"/>
                    </a:lnTo>
                    <a:lnTo>
                      <a:pt x="875" y="63"/>
                    </a:lnTo>
                    <a:lnTo>
                      <a:pt x="887" y="64"/>
                    </a:lnTo>
                    <a:lnTo>
                      <a:pt x="900" y="65"/>
                    </a:lnTo>
                    <a:lnTo>
                      <a:pt x="910" y="67"/>
                    </a:lnTo>
                    <a:lnTo>
                      <a:pt x="923" y="68"/>
                    </a:lnTo>
                    <a:lnTo>
                      <a:pt x="932" y="69"/>
                    </a:lnTo>
                    <a:lnTo>
                      <a:pt x="943" y="71"/>
                    </a:lnTo>
                    <a:lnTo>
                      <a:pt x="953" y="72"/>
                    </a:lnTo>
                    <a:lnTo>
                      <a:pt x="964" y="73"/>
                    </a:lnTo>
                    <a:lnTo>
                      <a:pt x="973" y="75"/>
                    </a:lnTo>
                    <a:lnTo>
                      <a:pt x="984" y="77"/>
                    </a:lnTo>
                    <a:lnTo>
                      <a:pt x="991" y="79"/>
                    </a:lnTo>
                    <a:lnTo>
                      <a:pt x="998" y="80"/>
                    </a:lnTo>
                    <a:lnTo>
                      <a:pt x="1008" y="82"/>
                    </a:lnTo>
                    <a:lnTo>
                      <a:pt x="1014" y="85"/>
                    </a:lnTo>
                    <a:lnTo>
                      <a:pt x="1022" y="86"/>
                    </a:lnTo>
                    <a:lnTo>
                      <a:pt x="1028" y="88"/>
                    </a:lnTo>
                    <a:lnTo>
                      <a:pt x="1035" y="90"/>
                    </a:lnTo>
                    <a:lnTo>
                      <a:pt x="1042" y="92"/>
                    </a:lnTo>
                    <a:lnTo>
                      <a:pt x="1045" y="94"/>
                    </a:lnTo>
                    <a:lnTo>
                      <a:pt x="1051" y="97"/>
                    </a:lnTo>
                    <a:lnTo>
                      <a:pt x="1055" y="99"/>
                    </a:lnTo>
                    <a:lnTo>
                      <a:pt x="1062" y="101"/>
                    </a:lnTo>
                    <a:lnTo>
                      <a:pt x="1062" y="103"/>
                    </a:lnTo>
                    <a:lnTo>
                      <a:pt x="1066" y="106"/>
                    </a:lnTo>
                    <a:lnTo>
                      <a:pt x="1068" y="107"/>
                    </a:lnTo>
                    <a:lnTo>
                      <a:pt x="1069" y="110"/>
                    </a:lnTo>
                    <a:lnTo>
                      <a:pt x="1066" y="112"/>
                    </a:lnTo>
                    <a:lnTo>
                      <a:pt x="1068" y="115"/>
                    </a:lnTo>
                    <a:lnTo>
                      <a:pt x="1066" y="116"/>
                    </a:lnTo>
                    <a:lnTo>
                      <a:pt x="1068" y="119"/>
                    </a:lnTo>
                    <a:lnTo>
                      <a:pt x="1063" y="120"/>
                    </a:lnTo>
                    <a:lnTo>
                      <a:pt x="1062" y="122"/>
                    </a:lnTo>
                    <a:lnTo>
                      <a:pt x="1062" y="123"/>
                    </a:lnTo>
                    <a:lnTo>
                      <a:pt x="1058" y="125"/>
                    </a:lnTo>
                    <a:lnTo>
                      <a:pt x="1055" y="125"/>
                    </a:lnTo>
                    <a:lnTo>
                      <a:pt x="1051" y="127"/>
                    </a:lnTo>
                    <a:lnTo>
                      <a:pt x="1049" y="129"/>
                    </a:lnTo>
                    <a:lnTo>
                      <a:pt x="1045" y="130"/>
                    </a:lnTo>
                    <a:lnTo>
                      <a:pt x="1040" y="131"/>
                    </a:lnTo>
                    <a:lnTo>
                      <a:pt x="1035" y="133"/>
                    </a:lnTo>
                    <a:lnTo>
                      <a:pt x="1033" y="134"/>
                    </a:lnTo>
                    <a:lnTo>
                      <a:pt x="1027" y="135"/>
                    </a:lnTo>
                    <a:lnTo>
                      <a:pt x="1022" y="136"/>
                    </a:lnTo>
                    <a:lnTo>
                      <a:pt x="1016" y="138"/>
                    </a:lnTo>
                    <a:lnTo>
                      <a:pt x="1008" y="139"/>
                    </a:lnTo>
                    <a:lnTo>
                      <a:pt x="1002" y="139"/>
                    </a:lnTo>
                    <a:lnTo>
                      <a:pt x="998" y="141"/>
                    </a:lnTo>
                    <a:lnTo>
                      <a:pt x="991" y="142"/>
                    </a:lnTo>
                    <a:lnTo>
                      <a:pt x="985" y="142"/>
                    </a:lnTo>
                    <a:lnTo>
                      <a:pt x="977" y="143"/>
                    </a:lnTo>
                    <a:lnTo>
                      <a:pt x="969" y="144"/>
                    </a:lnTo>
                    <a:lnTo>
                      <a:pt x="960" y="145"/>
                    </a:lnTo>
                    <a:lnTo>
                      <a:pt x="955" y="146"/>
                    </a:lnTo>
                    <a:lnTo>
                      <a:pt x="947" y="146"/>
                    </a:lnTo>
                    <a:lnTo>
                      <a:pt x="938" y="146"/>
                    </a:lnTo>
                    <a:lnTo>
                      <a:pt x="929" y="147"/>
                    </a:lnTo>
                    <a:lnTo>
                      <a:pt x="922" y="147"/>
                    </a:lnTo>
                    <a:lnTo>
                      <a:pt x="912" y="147"/>
                    </a:lnTo>
                    <a:lnTo>
                      <a:pt x="904" y="148"/>
                    </a:lnTo>
                    <a:lnTo>
                      <a:pt x="898" y="148"/>
                    </a:lnTo>
                    <a:lnTo>
                      <a:pt x="889" y="149"/>
                    </a:lnTo>
                    <a:lnTo>
                      <a:pt x="887" y="149"/>
                    </a:lnTo>
                    <a:lnTo>
                      <a:pt x="890" y="149"/>
                    </a:lnTo>
                    <a:lnTo>
                      <a:pt x="890" y="150"/>
                    </a:lnTo>
                    <a:lnTo>
                      <a:pt x="888" y="151"/>
                    </a:lnTo>
                    <a:lnTo>
                      <a:pt x="891" y="152"/>
                    </a:lnTo>
                    <a:lnTo>
                      <a:pt x="890" y="152"/>
                    </a:lnTo>
                    <a:lnTo>
                      <a:pt x="892" y="153"/>
                    </a:lnTo>
                    <a:lnTo>
                      <a:pt x="891" y="153"/>
                    </a:lnTo>
                    <a:lnTo>
                      <a:pt x="891" y="154"/>
                    </a:lnTo>
                    <a:lnTo>
                      <a:pt x="893" y="156"/>
                    </a:lnTo>
                    <a:lnTo>
                      <a:pt x="892" y="156"/>
                    </a:lnTo>
                    <a:lnTo>
                      <a:pt x="890" y="158"/>
                    </a:lnTo>
                    <a:lnTo>
                      <a:pt x="891" y="159"/>
                    </a:lnTo>
                    <a:lnTo>
                      <a:pt x="890" y="161"/>
                    </a:lnTo>
                    <a:lnTo>
                      <a:pt x="887" y="163"/>
                    </a:lnTo>
                    <a:lnTo>
                      <a:pt x="882" y="166"/>
                    </a:lnTo>
                    <a:lnTo>
                      <a:pt x="880" y="168"/>
                    </a:lnTo>
                    <a:lnTo>
                      <a:pt x="876" y="170"/>
                    </a:lnTo>
                    <a:lnTo>
                      <a:pt x="872" y="171"/>
                    </a:lnTo>
                    <a:lnTo>
                      <a:pt x="870" y="173"/>
                    </a:lnTo>
                    <a:lnTo>
                      <a:pt x="864" y="175"/>
                    </a:lnTo>
                    <a:lnTo>
                      <a:pt x="859" y="177"/>
                    </a:lnTo>
                    <a:lnTo>
                      <a:pt x="853" y="179"/>
                    </a:lnTo>
                    <a:lnTo>
                      <a:pt x="845" y="181"/>
                    </a:lnTo>
                    <a:lnTo>
                      <a:pt x="839" y="183"/>
                    </a:lnTo>
                    <a:lnTo>
                      <a:pt x="832" y="184"/>
                    </a:lnTo>
                    <a:lnTo>
                      <a:pt x="824" y="185"/>
                    </a:lnTo>
                    <a:lnTo>
                      <a:pt x="818" y="187"/>
                    </a:lnTo>
                    <a:lnTo>
                      <a:pt x="806" y="188"/>
                    </a:lnTo>
                    <a:lnTo>
                      <a:pt x="815" y="190"/>
                    </a:lnTo>
                    <a:lnTo>
                      <a:pt x="819" y="192"/>
                    </a:lnTo>
                    <a:lnTo>
                      <a:pt x="826" y="193"/>
                    </a:lnTo>
                    <a:lnTo>
                      <a:pt x="830" y="195"/>
                    </a:lnTo>
                    <a:lnTo>
                      <a:pt x="835" y="198"/>
                    </a:lnTo>
                    <a:lnTo>
                      <a:pt x="838" y="199"/>
                    </a:lnTo>
                    <a:lnTo>
                      <a:pt x="845" y="201"/>
                    </a:lnTo>
                    <a:lnTo>
                      <a:pt x="847" y="203"/>
                    </a:lnTo>
                    <a:lnTo>
                      <a:pt x="850" y="206"/>
                    </a:lnTo>
                    <a:lnTo>
                      <a:pt x="852" y="207"/>
                    </a:lnTo>
                    <a:lnTo>
                      <a:pt x="854" y="210"/>
                    </a:lnTo>
                    <a:lnTo>
                      <a:pt x="855" y="211"/>
                    </a:lnTo>
                    <a:lnTo>
                      <a:pt x="855" y="213"/>
                    </a:lnTo>
                    <a:lnTo>
                      <a:pt x="856" y="215"/>
                    </a:lnTo>
                    <a:lnTo>
                      <a:pt x="855" y="217"/>
                    </a:lnTo>
                    <a:lnTo>
                      <a:pt x="856" y="219"/>
                    </a:lnTo>
                    <a:lnTo>
                      <a:pt x="854" y="222"/>
                    </a:lnTo>
                    <a:lnTo>
                      <a:pt x="853" y="223"/>
                    </a:lnTo>
                    <a:lnTo>
                      <a:pt x="848" y="226"/>
                    </a:lnTo>
                    <a:lnTo>
                      <a:pt x="843" y="228"/>
                    </a:lnTo>
                    <a:lnTo>
                      <a:pt x="842" y="230"/>
                    </a:lnTo>
                    <a:lnTo>
                      <a:pt x="836" y="231"/>
                    </a:lnTo>
                    <a:lnTo>
                      <a:pt x="833" y="233"/>
                    </a:lnTo>
                    <a:lnTo>
                      <a:pt x="828" y="234"/>
                    </a:lnTo>
                    <a:lnTo>
                      <a:pt x="819" y="236"/>
                    </a:lnTo>
                    <a:lnTo>
                      <a:pt x="815" y="238"/>
                    </a:lnTo>
                    <a:lnTo>
                      <a:pt x="805" y="239"/>
                    </a:lnTo>
                    <a:lnTo>
                      <a:pt x="799" y="241"/>
                    </a:lnTo>
                    <a:lnTo>
                      <a:pt x="792" y="242"/>
                    </a:lnTo>
                    <a:lnTo>
                      <a:pt x="784" y="243"/>
                    </a:lnTo>
                    <a:lnTo>
                      <a:pt x="775" y="244"/>
                    </a:lnTo>
                    <a:lnTo>
                      <a:pt x="766" y="246"/>
                    </a:lnTo>
                    <a:lnTo>
                      <a:pt x="758" y="247"/>
                    </a:lnTo>
                    <a:lnTo>
                      <a:pt x="746" y="248"/>
                    </a:lnTo>
                    <a:lnTo>
                      <a:pt x="738" y="248"/>
                    </a:lnTo>
                    <a:lnTo>
                      <a:pt x="727" y="249"/>
                    </a:lnTo>
                    <a:lnTo>
                      <a:pt x="716" y="249"/>
                    </a:lnTo>
                    <a:lnTo>
                      <a:pt x="704" y="250"/>
                    </a:lnTo>
                    <a:lnTo>
                      <a:pt x="693" y="251"/>
                    </a:lnTo>
                    <a:lnTo>
                      <a:pt x="682" y="251"/>
                    </a:lnTo>
                    <a:lnTo>
                      <a:pt x="673" y="251"/>
                    </a:lnTo>
                    <a:lnTo>
                      <a:pt x="658" y="251"/>
                    </a:lnTo>
                    <a:lnTo>
                      <a:pt x="646" y="251"/>
                    </a:lnTo>
                    <a:lnTo>
                      <a:pt x="637" y="251"/>
                    </a:lnTo>
                    <a:lnTo>
                      <a:pt x="623" y="251"/>
                    </a:lnTo>
                    <a:lnTo>
                      <a:pt x="610" y="250"/>
                    </a:lnTo>
                    <a:lnTo>
                      <a:pt x="596" y="250"/>
                    </a:lnTo>
                    <a:lnTo>
                      <a:pt x="582" y="249"/>
                    </a:lnTo>
                    <a:lnTo>
                      <a:pt x="579" y="249"/>
                    </a:lnTo>
                    <a:lnTo>
                      <a:pt x="576" y="249"/>
                    </a:lnTo>
                    <a:lnTo>
                      <a:pt x="573" y="249"/>
                    </a:lnTo>
                    <a:lnTo>
                      <a:pt x="569" y="249"/>
                    </a:lnTo>
                    <a:lnTo>
                      <a:pt x="567" y="249"/>
                    </a:lnTo>
                    <a:lnTo>
                      <a:pt x="564" y="249"/>
                    </a:lnTo>
                    <a:lnTo>
                      <a:pt x="563" y="248"/>
                    </a:lnTo>
                    <a:lnTo>
                      <a:pt x="560" y="248"/>
                    </a:lnTo>
                    <a:lnTo>
                      <a:pt x="557" y="248"/>
                    </a:lnTo>
                    <a:lnTo>
                      <a:pt x="554" y="248"/>
                    </a:lnTo>
                    <a:lnTo>
                      <a:pt x="551" y="247"/>
                    </a:lnTo>
                    <a:lnTo>
                      <a:pt x="548" y="248"/>
                    </a:lnTo>
                    <a:lnTo>
                      <a:pt x="543" y="247"/>
                    </a:lnTo>
                    <a:lnTo>
                      <a:pt x="541" y="246"/>
                    </a:lnTo>
                    <a:lnTo>
                      <a:pt x="537" y="247"/>
                    </a:lnTo>
                    <a:lnTo>
                      <a:pt x="531" y="248"/>
                    </a:lnTo>
                    <a:lnTo>
                      <a:pt x="527" y="248"/>
                    </a:lnTo>
                    <a:lnTo>
                      <a:pt x="525" y="249"/>
                    </a:lnTo>
                    <a:lnTo>
                      <a:pt x="517" y="250"/>
                    </a:lnTo>
                    <a:lnTo>
                      <a:pt x="511" y="249"/>
                    </a:lnTo>
                    <a:lnTo>
                      <a:pt x="506" y="250"/>
                    </a:lnTo>
                    <a:lnTo>
                      <a:pt x="501" y="251"/>
                    </a:lnTo>
                    <a:lnTo>
                      <a:pt x="494" y="251"/>
                    </a:lnTo>
                    <a:lnTo>
                      <a:pt x="491" y="251"/>
                    </a:lnTo>
                    <a:lnTo>
                      <a:pt x="482" y="251"/>
                    </a:lnTo>
                    <a:lnTo>
                      <a:pt x="479" y="251"/>
                    </a:lnTo>
                    <a:lnTo>
                      <a:pt x="473" y="252"/>
                    </a:lnTo>
                    <a:lnTo>
                      <a:pt x="469" y="252"/>
                    </a:lnTo>
                    <a:lnTo>
                      <a:pt x="460" y="253"/>
                    </a:lnTo>
                    <a:lnTo>
                      <a:pt x="454" y="253"/>
                    </a:lnTo>
                    <a:lnTo>
                      <a:pt x="449" y="253"/>
                    </a:lnTo>
                    <a:lnTo>
                      <a:pt x="441" y="253"/>
                    </a:lnTo>
                    <a:lnTo>
                      <a:pt x="435" y="253"/>
                    </a:lnTo>
                    <a:lnTo>
                      <a:pt x="430" y="254"/>
                    </a:lnTo>
                    <a:lnTo>
                      <a:pt x="423" y="253"/>
                    </a:lnTo>
                    <a:lnTo>
                      <a:pt x="419" y="253"/>
                    </a:lnTo>
                    <a:lnTo>
                      <a:pt x="411" y="253"/>
                    </a:lnTo>
                    <a:lnTo>
                      <a:pt x="404" y="253"/>
                    </a:lnTo>
                    <a:lnTo>
                      <a:pt x="398" y="253"/>
                    </a:lnTo>
                    <a:lnTo>
                      <a:pt x="393" y="253"/>
                    </a:lnTo>
                    <a:lnTo>
                      <a:pt x="385" y="252"/>
                    </a:lnTo>
                    <a:lnTo>
                      <a:pt x="379" y="253"/>
                    </a:lnTo>
                    <a:lnTo>
                      <a:pt x="371" y="253"/>
                    </a:lnTo>
                    <a:lnTo>
                      <a:pt x="367" y="252"/>
                    </a:lnTo>
                    <a:lnTo>
                      <a:pt x="358" y="252"/>
                    </a:lnTo>
                    <a:lnTo>
                      <a:pt x="350" y="251"/>
                    </a:lnTo>
                    <a:lnTo>
                      <a:pt x="337" y="251"/>
                    </a:lnTo>
                    <a:lnTo>
                      <a:pt x="325" y="250"/>
                    </a:lnTo>
                    <a:lnTo>
                      <a:pt x="315" y="248"/>
                    </a:lnTo>
                    <a:lnTo>
                      <a:pt x="302" y="248"/>
                    </a:lnTo>
                    <a:lnTo>
                      <a:pt x="290" y="247"/>
                    </a:lnTo>
                    <a:lnTo>
                      <a:pt x="276" y="246"/>
                    </a:lnTo>
                    <a:lnTo>
                      <a:pt x="267" y="244"/>
                    </a:lnTo>
                    <a:lnTo>
                      <a:pt x="255" y="243"/>
                    </a:lnTo>
                    <a:lnTo>
                      <a:pt x="245" y="241"/>
                    </a:lnTo>
                    <a:lnTo>
                      <a:pt x="235" y="240"/>
                    </a:lnTo>
                    <a:lnTo>
                      <a:pt x="223" y="239"/>
                    </a:lnTo>
                    <a:lnTo>
                      <a:pt x="213" y="237"/>
                    </a:lnTo>
                    <a:lnTo>
                      <a:pt x="204" y="235"/>
                    </a:lnTo>
                    <a:lnTo>
                      <a:pt x="197" y="233"/>
                    </a:lnTo>
                    <a:lnTo>
                      <a:pt x="190" y="231"/>
                    </a:lnTo>
                    <a:lnTo>
                      <a:pt x="181" y="230"/>
                    </a:lnTo>
                    <a:lnTo>
                      <a:pt x="173" y="228"/>
                    </a:lnTo>
                    <a:lnTo>
                      <a:pt x="165" y="227"/>
                    </a:lnTo>
                    <a:lnTo>
                      <a:pt x="158" y="223"/>
                    </a:lnTo>
                    <a:lnTo>
                      <a:pt x="151" y="222"/>
                    </a:lnTo>
                    <a:lnTo>
                      <a:pt x="146" y="220"/>
                    </a:lnTo>
                    <a:lnTo>
                      <a:pt x="141" y="218"/>
                    </a:lnTo>
                    <a:lnTo>
                      <a:pt x="138" y="216"/>
                    </a:lnTo>
                    <a:lnTo>
                      <a:pt x="132" y="213"/>
                    </a:lnTo>
                    <a:lnTo>
                      <a:pt x="129" y="211"/>
                    </a:lnTo>
                    <a:lnTo>
                      <a:pt x="125" y="209"/>
                    </a:lnTo>
                    <a:lnTo>
                      <a:pt x="125" y="207"/>
                    </a:lnTo>
                    <a:lnTo>
                      <a:pt x="122" y="204"/>
                    </a:lnTo>
                    <a:lnTo>
                      <a:pt x="122" y="202"/>
                    </a:lnTo>
                    <a:lnTo>
                      <a:pt x="119" y="200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2" y="193"/>
                    </a:lnTo>
                    <a:lnTo>
                      <a:pt x="123" y="192"/>
                    </a:lnTo>
                    <a:lnTo>
                      <a:pt x="126" y="191"/>
                    </a:lnTo>
                    <a:lnTo>
                      <a:pt x="125" y="189"/>
                    </a:lnTo>
                    <a:lnTo>
                      <a:pt x="128" y="188"/>
                    </a:lnTo>
                    <a:lnTo>
                      <a:pt x="131" y="188"/>
                    </a:lnTo>
                    <a:lnTo>
                      <a:pt x="133" y="186"/>
                    </a:lnTo>
                    <a:lnTo>
                      <a:pt x="136" y="185"/>
                    </a:lnTo>
                    <a:lnTo>
                      <a:pt x="139" y="184"/>
                    </a:lnTo>
                    <a:lnTo>
                      <a:pt x="140" y="183"/>
                    </a:lnTo>
                    <a:lnTo>
                      <a:pt x="142" y="182"/>
                    </a:lnTo>
                    <a:lnTo>
                      <a:pt x="146" y="181"/>
                    </a:lnTo>
                    <a:lnTo>
                      <a:pt x="149" y="180"/>
                    </a:lnTo>
                    <a:lnTo>
                      <a:pt x="150" y="179"/>
                    </a:lnTo>
                    <a:lnTo>
                      <a:pt x="155" y="179"/>
                    </a:lnTo>
                    <a:lnTo>
                      <a:pt x="147" y="179"/>
                    </a:lnTo>
                    <a:lnTo>
                      <a:pt x="140" y="177"/>
                    </a:lnTo>
                    <a:lnTo>
                      <a:pt x="130" y="176"/>
                    </a:lnTo>
                    <a:lnTo>
                      <a:pt x="121" y="176"/>
                    </a:lnTo>
                    <a:lnTo>
                      <a:pt x="114" y="174"/>
                    </a:lnTo>
                    <a:lnTo>
                      <a:pt x="105" y="173"/>
                    </a:lnTo>
                    <a:lnTo>
                      <a:pt x="98" y="172"/>
                    </a:lnTo>
                    <a:lnTo>
                      <a:pt x="90" y="171"/>
                    </a:lnTo>
                    <a:lnTo>
                      <a:pt x="82" y="170"/>
                    </a:lnTo>
                    <a:lnTo>
                      <a:pt x="76" y="170"/>
                    </a:lnTo>
                    <a:lnTo>
                      <a:pt x="69" y="168"/>
                    </a:lnTo>
                    <a:lnTo>
                      <a:pt x="63" y="167"/>
                    </a:lnTo>
                    <a:lnTo>
                      <a:pt x="59" y="166"/>
                    </a:lnTo>
                    <a:lnTo>
                      <a:pt x="52" y="164"/>
                    </a:lnTo>
                    <a:lnTo>
                      <a:pt x="48" y="163"/>
                    </a:lnTo>
                    <a:lnTo>
                      <a:pt x="41" y="161"/>
                    </a:lnTo>
                    <a:lnTo>
                      <a:pt x="36" y="160"/>
                    </a:lnTo>
                    <a:lnTo>
                      <a:pt x="29" y="158"/>
                    </a:lnTo>
                    <a:lnTo>
                      <a:pt x="26" y="157"/>
                    </a:lnTo>
                    <a:lnTo>
                      <a:pt x="22" y="156"/>
                    </a:lnTo>
                    <a:lnTo>
                      <a:pt x="18" y="154"/>
                    </a:lnTo>
                    <a:lnTo>
                      <a:pt x="14" y="153"/>
                    </a:lnTo>
                    <a:lnTo>
                      <a:pt x="11" y="151"/>
                    </a:lnTo>
                    <a:lnTo>
                      <a:pt x="8" y="149"/>
                    </a:lnTo>
                    <a:lnTo>
                      <a:pt x="7" y="147"/>
                    </a:lnTo>
                    <a:lnTo>
                      <a:pt x="3" y="146"/>
                    </a:lnTo>
                    <a:lnTo>
                      <a:pt x="3" y="145"/>
                    </a:lnTo>
                    <a:lnTo>
                      <a:pt x="0" y="143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0" y="138"/>
                    </a:lnTo>
                    <a:lnTo>
                      <a:pt x="1" y="137"/>
                    </a:lnTo>
                    <a:lnTo>
                      <a:pt x="1" y="136"/>
                    </a:lnTo>
                    <a:lnTo>
                      <a:pt x="2" y="133"/>
                    </a:lnTo>
                    <a:lnTo>
                      <a:pt x="5" y="132"/>
                    </a:lnTo>
                    <a:lnTo>
                      <a:pt x="8" y="131"/>
                    </a:lnTo>
                    <a:lnTo>
                      <a:pt x="9" y="130"/>
                    </a:lnTo>
                    <a:lnTo>
                      <a:pt x="11" y="129"/>
                    </a:lnTo>
                    <a:lnTo>
                      <a:pt x="16" y="127"/>
                    </a:lnTo>
                    <a:lnTo>
                      <a:pt x="20" y="126"/>
                    </a:lnTo>
                    <a:lnTo>
                      <a:pt x="21" y="125"/>
                    </a:lnTo>
                    <a:lnTo>
                      <a:pt x="27" y="124"/>
                    </a:lnTo>
                    <a:lnTo>
                      <a:pt x="28" y="123"/>
                    </a:lnTo>
                    <a:lnTo>
                      <a:pt x="33" y="122"/>
                    </a:lnTo>
                    <a:lnTo>
                      <a:pt x="37" y="121"/>
                    </a:lnTo>
                    <a:lnTo>
                      <a:pt x="43" y="120"/>
                    </a:lnTo>
                    <a:lnTo>
                      <a:pt x="48" y="119"/>
                    </a:lnTo>
                    <a:lnTo>
                      <a:pt x="55" y="118"/>
                    </a:lnTo>
                    <a:lnTo>
                      <a:pt x="59" y="117"/>
                    </a:lnTo>
                    <a:lnTo>
                      <a:pt x="65" y="117"/>
                    </a:lnTo>
                    <a:lnTo>
                      <a:pt x="70" y="116"/>
                    </a:lnTo>
                    <a:lnTo>
                      <a:pt x="75" y="115"/>
                    </a:lnTo>
                    <a:lnTo>
                      <a:pt x="81" y="115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101" y="113"/>
                    </a:lnTo>
                    <a:lnTo>
                      <a:pt x="111" y="114"/>
                    </a:lnTo>
                    <a:lnTo>
                      <a:pt x="116" y="113"/>
                    </a:lnTo>
                    <a:lnTo>
                      <a:pt x="125" y="112"/>
                    </a:lnTo>
                    <a:lnTo>
                      <a:pt x="130" y="113"/>
                    </a:lnTo>
                    <a:lnTo>
                      <a:pt x="137" y="112"/>
                    </a:lnTo>
                    <a:lnTo>
                      <a:pt x="147" y="112"/>
                    </a:lnTo>
                    <a:lnTo>
                      <a:pt x="155" y="112"/>
                    </a:lnTo>
                    <a:lnTo>
                      <a:pt x="162" y="112"/>
                    </a:lnTo>
                    <a:lnTo>
                      <a:pt x="159" y="111"/>
                    </a:lnTo>
                    <a:lnTo>
                      <a:pt x="155" y="110"/>
                    </a:lnTo>
                    <a:lnTo>
                      <a:pt x="151" y="109"/>
                    </a:lnTo>
                    <a:lnTo>
                      <a:pt x="146" y="108"/>
                    </a:lnTo>
                    <a:lnTo>
                      <a:pt x="141" y="107"/>
                    </a:lnTo>
                    <a:lnTo>
                      <a:pt x="138" y="105"/>
                    </a:lnTo>
                    <a:lnTo>
                      <a:pt x="134" y="106"/>
                    </a:lnTo>
                    <a:lnTo>
                      <a:pt x="130" y="104"/>
                    </a:lnTo>
                    <a:lnTo>
                      <a:pt x="126" y="103"/>
                    </a:lnTo>
                    <a:lnTo>
                      <a:pt x="125" y="102"/>
                    </a:lnTo>
                    <a:lnTo>
                      <a:pt x="120" y="101"/>
                    </a:lnTo>
                    <a:lnTo>
                      <a:pt x="119" y="100"/>
                    </a:lnTo>
                    <a:lnTo>
                      <a:pt x="116" y="98"/>
                    </a:lnTo>
                    <a:lnTo>
                      <a:pt x="112" y="97"/>
                    </a:lnTo>
                    <a:lnTo>
                      <a:pt x="110" y="96"/>
                    </a:lnTo>
                    <a:lnTo>
                      <a:pt x="110" y="94"/>
                    </a:lnTo>
                    <a:lnTo>
                      <a:pt x="107" y="93"/>
                    </a:lnTo>
                    <a:lnTo>
                      <a:pt x="104" y="92"/>
                    </a:lnTo>
                    <a:lnTo>
                      <a:pt x="103" y="91"/>
                    </a:lnTo>
                    <a:lnTo>
                      <a:pt x="100" y="90"/>
                    </a:lnTo>
                    <a:lnTo>
                      <a:pt x="97" y="89"/>
                    </a:lnTo>
                    <a:lnTo>
                      <a:pt x="97" y="87"/>
                    </a:lnTo>
                    <a:lnTo>
                      <a:pt x="95" y="86"/>
                    </a:lnTo>
                    <a:lnTo>
                      <a:pt x="96" y="84"/>
                    </a:lnTo>
                    <a:lnTo>
                      <a:pt x="94" y="83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79"/>
                    </a:lnTo>
                    <a:lnTo>
                      <a:pt x="94" y="78"/>
                    </a:lnTo>
                    <a:lnTo>
                      <a:pt x="95" y="76"/>
                    </a:lnTo>
                    <a:lnTo>
                      <a:pt x="95" y="75"/>
                    </a:lnTo>
                    <a:lnTo>
                      <a:pt x="98" y="73"/>
                    </a:lnTo>
                    <a:lnTo>
                      <a:pt x="103" y="70"/>
                    </a:lnTo>
                    <a:lnTo>
                      <a:pt x="104" y="68"/>
                    </a:lnTo>
                    <a:lnTo>
                      <a:pt x="106" y="67"/>
                    </a:lnTo>
                    <a:lnTo>
                      <a:pt x="111" y="65"/>
                    </a:lnTo>
                    <a:lnTo>
                      <a:pt x="116" y="63"/>
                    </a:lnTo>
                    <a:lnTo>
                      <a:pt x="120" y="62"/>
                    </a:lnTo>
                    <a:lnTo>
                      <a:pt x="128" y="60"/>
                    </a:lnTo>
                    <a:lnTo>
                      <a:pt x="131" y="59"/>
                    </a:lnTo>
                    <a:lnTo>
                      <a:pt x="138" y="57"/>
                    </a:lnTo>
                    <a:lnTo>
                      <a:pt x="145" y="56"/>
                    </a:lnTo>
                    <a:lnTo>
                      <a:pt x="152" y="54"/>
                    </a:lnTo>
                    <a:lnTo>
                      <a:pt x="160" y="53"/>
                    </a:lnTo>
                    <a:lnTo>
                      <a:pt x="166" y="53"/>
                    </a:lnTo>
                    <a:lnTo>
                      <a:pt x="174" y="51"/>
                    </a:lnTo>
                    <a:lnTo>
                      <a:pt x="184" y="50"/>
                    </a:lnTo>
                    <a:lnTo>
                      <a:pt x="193" y="49"/>
                    </a:lnTo>
                    <a:lnTo>
                      <a:pt x="201" y="48"/>
                    </a:lnTo>
                    <a:lnTo>
                      <a:pt x="212" y="47"/>
                    </a:lnTo>
                    <a:lnTo>
                      <a:pt x="223" y="47"/>
                    </a:lnTo>
                    <a:lnTo>
                      <a:pt x="231" y="46"/>
                    </a:lnTo>
                    <a:lnTo>
                      <a:pt x="241" y="46"/>
                    </a:lnTo>
                    <a:lnTo>
                      <a:pt x="253" y="45"/>
                    </a:lnTo>
                    <a:lnTo>
                      <a:pt x="263" y="45"/>
                    </a:lnTo>
                    <a:lnTo>
                      <a:pt x="275" y="45"/>
                    </a:lnTo>
                    <a:lnTo>
                      <a:pt x="286" y="45"/>
                    </a:lnTo>
                    <a:lnTo>
                      <a:pt x="297" y="45"/>
                    </a:lnTo>
                    <a:lnTo>
                      <a:pt x="308" y="45"/>
                    </a:lnTo>
                    <a:lnTo>
                      <a:pt x="320" y="45"/>
                    </a:lnTo>
                    <a:lnTo>
                      <a:pt x="332" y="45"/>
                    </a:lnTo>
                    <a:lnTo>
                      <a:pt x="344" y="46"/>
                    </a:lnTo>
                    <a:lnTo>
                      <a:pt x="342" y="44"/>
                    </a:lnTo>
                    <a:lnTo>
                      <a:pt x="342" y="43"/>
                    </a:lnTo>
                    <a:lnTo>
                      <a:pt x="340" y="43"/>
                    </a:lnTo>
                    <a:lnTo>
                      <a:pt x="340" y="42"/>
                    </a:lnTo>
                    <a:lnTo>
                      <a:pt x="340" y="41"/>
                    </a:lnTo>
                    <a:lnTo>
                      <a:pt x="339" y="41"/>
                    </a:lnTo>
                    <a:lnTo>
                      <a:pt x="339" y="39"/>
                    </a:lnTo>
                    <a:lnTo>
                      <a:pt x="338" y="38"/>
                    </a:lnTo>
                    <a:lnTo>
                      <a:pt x="338" y="37"/>
                    </a:lnTo>
                    <a:lnTo>
                      <a:pt x="338" y="36"/>
                    </a:lnTo>
                    <a:lnTo>
                      <a:pt x="338" y="35"/>
                    </a:lnTo>
                    <a:lnTo>
                      <a:pt x="338" y="34"/>
                    </a:lnTo>
                    <a:lnTo>
                      <a:pt x="339" y="33"/>
                    </a:lnTo>
                    <a:lnTo>
                      <a:pt x="339" y="32"/>
                    </a:lnTo>
                    <a:lnTo>
                      <a:pt x="339" y="29"/>
                    </a:lnTo>
                    <a:lnTo>
                      <a:pt x="342" y="27"/>
                    </a:lnTo>
                    <a:lnTo>
                      <a:pt x="345" y="26"/>
                    </a:lnTo>
                    <a:lnTo>
                      <a:pt x="347" y="23"/>
                    </a:lnTo>
                    <a:lnTo>
                      <a:pt x="350" y="21"/>
                    </a:lnTo>
                    <a:lnTo>
                      <a:pt x="356" y="20"/>
                    </a:lnTo>
                    <a:lnTo>
                      <a:pt x="360" y="18"/>
                    </a:lnTo>
                    <a:lnTo>
                      <a:pt x="367" y="17"/>
                    </a:lnTo>
                    <a:lnTo>
                      <a:pt x="373" y="14"/>
                    </a:lnTo>
                    <a:lnTo>
                      <a:pt x="381" y="13"/>
                    </a:lnTo>
                    <a:lnTo>
                      <a:pt x="385" y="11"/>
                    </a:lnTo>
                    <a:lnTo>
                      <a:pt x="391" y="10"/>
                    </a:lnTo>
                    <a:lnTo>
                      <a:pt x="399" y="9"/>
                    </a:lnTo>
                    <a:lnTo>
                      <a:pt x="410" y="7"/>
                    </a:lnTo>
                    <a:lnTo>
                      <a:pt x="418" y="7"/>
                    </a:lnTo>
                    <a:lnTo>
                      <a:pt x="428" y="5"/>
                    </a:lnTo>
                    <a:lnTo>
                      <a:pt x="436" y="4"/>
                    </a:lnTo>
                    <a:lnTo>
                      <a:pt x="444" y="3"/>
                    </a:lnTo>
                    <a:lnTo>
                      <a:pt x="454" y="3"/>
                    </a:lnTo>
                    <a:lnTo>
                      <a:pt x="466" y="2"/>
                    </a:lnTo>
                    <a:lnTo>
                      <a:pt x="477" y="1"/>
                    </a:lnTo>
                    <a:lnTo>
                      <a:pt x="489" y="1"/>
                    </a:lnTo>
                    <a:lnTo>
                      <a:pt x="499" y="0"/>
                    </a:lnTo>
                    <a:lnTo>
                      <a:pt x="511" y="0"/>
                    </a:lnTo>
                    <a:lnTo>
                      <a:pt x="524" y="0"/>
                    </a:lnTo>
                    <a:lnTo>
                      <a:pt x="535" y="0"/>
                    </a:lnTo>
                    <a:lnTo>
                      <a:pt x="546" y="0"/>
                    </a:lnTo>
                    <a:lnTo>
                      <a:pt x="559" y="0"/>
                    </a:lnTo>
                    <a:lnTo>
                      <a:pt x="572" y="0"/>
                    </a:lnTo>
                    <a:lnTo>
                      <a:pt x="584" y="0"/>
                    </a:lnTo>
                    <a:lnTo>
                      <a:pt x="595" y="0"/>
                    </a:lnTo>
                    <a:lnTo>
                      <a:pt x="611" y="1"/>
                    </a:lnTo>
                    <a:lnTo>
                      <a:pt x="623" y="2"/>
                    </a:lnTo>
                    <a:lnTo>
                      <a:pt x="636" y="3"/>
                    </a:lnTo>
                    <a:lnTo>
                      <a:pt x="647" y="3"/>
                    </a:lnTo>
                    <a:lnTo>
                      <a:pt x="660" y="5"/>
                    </a:lnTo>
                    <a:lnTo>
                      <a:pt x="673" y="7"/>
                    </a:lnTo>
                    <a:lnTo>
                      <a:pt x="686" y="7"/>
                    </a:lnTo>
                    <a:lnTo>
                      <a:pt x="696" y="9"/>
                    </a:lnTo>
                    <a:lnTo>
                      <a:pt x="706" y="10"/>
                    </a:lnTo>
                    <a:lnTo>
                      <a:pt x="715" y="11"/>
                    </a:lnTo>
                    <a:lnTo>
                      <a:pt x="728" y="12"/>
                    </a:lnTo>
                    <a:lnTo>
                      <a:pt x="737" y="14"/>
                    </a:lnTo>
                    <a:lnTo>
                      <a:pt x="747" y="16"/>
                    </a:lnTo>
                    <a:lnTo>
                      <a:pt x="757" y="18"/>
                    </a:lnTo>
                    <a:lnTo>
                      <a:pt x="764" y="19"/>
                    </a:lnTo>
                    <a:lnTo>
                      <a:pt x="773" y="22"/>
                    </a:lnTo>
                    <a:lnTo>
                      <a:pt x="780" y="23"/>
                    </a:lnTo>
                    <a:lnTo>
                      <a:pt x="789" y="25"/>
                    </a:lnTo>
                    <a:lnTo>
                      <a:pt x="796" y="27"/>
                    </a:lnTo>
                    <a:lnTo>
                      <a:pt x="801" y="29"/>
                    </a:lnTo>
                    <a:lnTo>
                      <a:pt x="808" y="31"/>
                    </a:lnTo>
                    <a:lnTo>
                      <a:pt x="815" y="32"/>
                    </a:lnTo>
                    <a:lnTo>
                      <a:pt x="820" y="35"/>
                    </a:lnTo>
                    <a:lnTo>
                      <a:pt x="824" y="36"/>
                    </a:lnTo>
                    <a:lnTo>
                      <a:pt x="828" y="40"/>
                    </a:lnTo>
                    <a:lnTo>
                      <a:pt x="832" y="41"/>
                    </a:lnTo>
                    <a:lnTo>
                      <a:pt x="835" y="44"/>
                    </a:lnTo>
                    <a:lnTo>
                      <a:pt x="836" y="46"/>
                    </a:lnTo>
                    <a:lnTo>
                      <a:pt x="839" y="48"/>
                    </a:lnTo>
                    <a:lnTo>
                      <a:pt x="840" y="50"/>
                    </a:lnTo>
                    <a:lnTo>
                      <a:pt x="840" y="52"/>
                    </a:lnTo>
                    <a:lnTo>
                      <a:pt x="839" y="55"/>
                    </a:lnTo>
                    <a:lnTo>
                      <a:pt x="841" y="57"/>
                    </a:lnTo>
                    <a:lnTo>
                      <a:pt x="839" y="58"/>
                    </a:lnTo>
                    <a:lnTo>
                      <a:pt x="838" y="59"/>
                    </a:lnTo>
                    <a:lnTo>
                      <a:pt x="837" y="60"/>
                    </a:lnTo>
                    <a:lnTo>
                      <a:pt x="835" y="61"/>
                    </a:lnTo>
                  </a:path>
                </a:pathLst>
              </a:custGeom>
              <a:gradFill rotWithShape="0">
                <a:gsLst>
                  <a:gs pos="0">
                    <a:srgbClr val="999999"/>
                  </a:gs>
                  <a:gs pos="50000">
                    <a:srgbClr val="FFFFFF"/>
                  </a:gs>
                  <a:gs pos="100000">
                    <a:srgbClr val="999999"/>
                  </a:gs>
                </a:gsLst>
                <a:lin ang="18900000" scaled="1"/>
              </a:gra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ko-KR" altLang="en-US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6" name="Rectangle 1236"/>
              <p:cNvSpPr>
                <a:spLocks noChangeArrowheads="1"/>
              </p:cNvSpPr>
              <p:nvPr/>
            </p:nvSpPr>
            <p:spPr bwMode="auto">
              <a:xfrm>
                <a:off x="4470" y="2993"/>
                <a:ext cx="306" cy="1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2075" tIns="46038" rIns="92075" bIns="46038">
                <a:spAutoFit/>
              </a:bodyPr>
              <a:lstStyle/>
              <a:p>
                <a:pPr algn="ctr" eaLnBrk="0" latinLnBrk="0" hangingPunct="0">
                  <a:lnSpc>
                    <a:spcPct val="95000"/>
                  </a:lnSpc>
                </a:pPr>
                <a:r>
                  <a:rPr kumimoji="0" lang="ko-KR" altLang="ko-KR">
                    <a:solidFill>
                      <a:srgbClr val="000000"/>
                    </a:solidFill>
                    <a:latin typeface="맑은 고딕" pitchFamily="50" charset="-127"/>
                    <a:ea typeface="맑은 고딕" pitchFamily="50" charset="-127"/>
                  </a:rPr>
                  <a:t>CO-LAN/PSTN</a:t>
                </a:r>
                <a:endParaRPr kumimoji="0" lang="en-US" altLang="ko-KR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8" name="직사각형 277"/>
          <p:cNvSpPr>
            <a:spLocks noChangeArrowheads="1"/>
          </p:cNvSpPr>
          <p:nvPr/>
        </p:nvSpPr>
        <p:spPr bwMode="auto">
          <a:xfrm>
            <a:off x="8193359" y="2992649"/>
            <a:ext cx="1215603" cy="72438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latin typeface="맑은 고딕" pitchFamily="50" charset="-127"/>
                <a:ea typeface="맑은 고딕" pitchFamily="50" charset="-127"/>
              </a:rPr>
              <a:t>Syrup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9" name="직사각형 278"/>
          <p:cNvSpPr>
            <a:spLocks noChangeArrowheads="1"/>
          </p:cNvSpPr>
          <p:nvPr/>
        </p:nvSpPr>
        <p:spPr bwMode="auto">
          <a:xfrm>
            <a:off x="2016289" y="5447858"/>
            <a:ext cx="2295049" cy="1077485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SOI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0" name="직사각형 279"/>
          <p:cNvSpPr>
            <a:spLocks noChangeArrowheads="1"/>
          </p:cNvSpPr>
          <p:nvPr/>
        </p:nvSpPr>
        <p:spPr bwMode="auto">
          <a:xfrm>
            <a:off x="437692" y="980729"/>
            <a:ext cx="1114426" cy="2412200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OCB.com/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Mobile OCB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1" name="직사각형 280"/>
          <p:cNvSpPr>
            <a:spLocks noChangeArrowheads="1"/>
          </p:cNvSpPr>
          <p:nvPr/>
        </p:nvSpPr>
        <p:spPr bwMode="auto">
          <a:xfrm>
            <a:off x="437692" y="3501008"/>
            <a:ext cx="1114426" cy="1430088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OCBPAS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2" name="직사각형 281"/>
          <p:cNvSpPr>
            <a:spLocks noChangeArrowheads="1"/>
          </p:cNvSpPr>
          <p:nvPr/>
        </p:nvSpPr>
        <p:spPr bwMode="auto">
          <a:xfrm>
            <a:off x="6321152" y="5254440"/>
            <a:ext cx="1114426" cy="1342912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latin typeface="맑은 고딕" pitchFamily="50" charset="-127"/>
                <a:ea typeface="맑은 고딕" pitchFamily="50" charset="-127"/>
              </a:rPr>
              <a:t>IMC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76305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4" name="직사각형 283"/>
          <p:cNvSpPr>
            <a:spLocks noChangeArrowheads="1"/>
          </p:cNvSpPr>
          <p:nvPr/>
        </p:nvSpPr>
        <p:spPr bwMode="auto">
          <a:xfrm>
            <a:off x="3971925" y="1214350"/>
            <a:ext cx="2003206" cy="2882223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5" name="직사각형 284"/>
          <p:cNvSpPr/>
          <p:nvPr/>
        </p:nvSpPr>
        <p:spPr bwMode="auto">
          <a:xfrm>
            <a:off x="4044885" y="1315600"/>
            <a:ext cx="1825142" cy="260363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300" kern="0" dirty="0" err="1" smtClean="0">
                <a:latin typeface="맑은 고딕" pitchFamily="50" charset="-127"/>
                <a:ea typeface="맑은 고딕" pitchFamily="50" charset="-127"/>
              </a:rPr>
              <a:t>NXmile</a:t>
            </a:r>
            <a:endParaRPr kumimoji="1"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4351116" y="1671477"/>
            <a:ext cx="1188000" cy="2022701"/>
            <a:chOff x="4351116" y="1671477"/>
            <a:chExt cx="1188000" cy="1627099"/>
          </a:xfrm>
        </p:grpSpPr>
        <p:sp>
          <p:nvSpPr>
            <p:cNvPr id="286" name="Rectangle 51"/>
            <p:cNvSpPr>
              <a:spLocks noChangeArrowheads="1"/>
            </p:cNvSpPr>
            <p:nvPr/>
          </p:nvSpPr>
          <p:spPr bwMode="auto">
            <a:xfrm>
              <a:off x="4351116" y="2111778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승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</a:p>
          </p:txBody>
        </p:sp>
        <p:sp>
          <p:nvSpPr>
            <p:cNvPr id="287" name="Rectangle 51"/>
            <p:cNvSpPr>
              <a:spLocks noChangeArrowheads="1"/>
            </p:cNvSpPr>
            <p:nvPr/>
          </p:nvSpPr>
          <p:spPr bwMode="auto">
            <a:xfrm>
              <a:off x="4351116" y="2552079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가맹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점</a:t>
              </a:r>
            </a:p>
          </p:txBody>
        </p:sp>
        <p:sp>
          <p:nvSpPr>
            <p:cNvPr id="288" name="Rectangle 51"/>
            <p:cNvSpPr>
              <a:spLocks noChangeArrowheads="1"/>
            </p:cNvSpPr>
            <p:nvPr/>
          </p:nvSpPr>
          <p:spPr bwMode="auto">
            <a:xfrm>
              <a:off x="4351116" y="2992380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산</a:t>
              </a:r>
            </a:p>
          </p:txBody>
        </p:sp>
        <p:sp>
          <p:nvSpPr>
            <p:cNvPr id="289" name="Rectangle 51"/>
            <p:cNvSpPr>
              <a:spLocks noChangeArrowheads="1"/>
            </p:cNvSpPr>
            <p:nvPr/>
          </p:nvSpPr>
          <p:spPr bwMode="auto">
            <a:xfrm>
              <a:off x="4351116" y="1671477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회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원</a:t>
              </a:r>
            </a:p>
          </p:txBody>
        </p:sp>
      </p:grpSp>
      <p:sp>
        <p:nvSpPr>
          <p:cNvPr id="296" name="Rectangle 51"/>
          <p:cNvSpPr>
            <a:spLocks noChangeArrowheads="1"/>
          </p:cNvSpPr>
          <p:nvPr/>
        </p:nvSpPr>
        <p:spPr bwMode="auto">
          <a:xfrm>
            <a:off x="515083" y="1340768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금영수증발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7" name="Rectangle 51"/>
          <p:cNvSpPr>
            <a:spLocks noChangeArrowheads="1"/>
          </p:cNvSpPr>
          <p:nvPr/>
        </p:nvSpPr>
        <p:spPr bwMode="auto">
          <a:xfrm>
            <a:off x="3163813" y="5927320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탈퇴 정보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8" name="Rectangle 51"/>
          <p:cNvSpPr>
            <a:spLocks noChangeArrowheads="1"/>
          </p:cNvSpPr>
          <p:nvPr/>
        </p:nvSpPr>
        <p:spPr bwMode="auto">
          <a:xfrm>
            <a:off x="2126527" y="593589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내역 조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</a:t>
            </a:r>
          </a:p>
        </p:txBody>
      </p:sp>
      <p:sp>
        <p:nvSpPr>
          <p:cNvPr id="300" name="Rectangle 51"/>
          <p:cNvSpPr>
            <a:spLocks noChangeArrowheads="1"/>
          </p:cNvSpPr>
          <p:nvPr/>
        </p:nvSpPr>
        <p:spPr bwMode="auto">
          <a:xfrm>
            <a:off x="509566" y="172516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환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1" name="Rectangle 51"/>
          <p:cNvSpPr>
            <a:spLocks noChangeArrowheads="1"/>
          </p:cNvSpPr>
          <p:nvPr/>
        </p:nvSpPr>
        <p:spPr bwMode="auto">
          <a:xfrm>
            <a:off x="8295136" y="3212698"/>
            <a:ext cx="1046765" cy="2232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900" kern="0" dirty="0">
                <a:latin typeface="맑은 고딕" pitchFamily="50" charset="-127"/>
                <a:ea typeface="맑은 고딕" pitchFamily="50" charset="-127"/>
              </a:rPr>
              <a:t>카드 등록</a:t>
            </a:r>
          </a:p>
        </p:txBody>
      </p:sp>
      <p:sp>
        <p:nvSpPr>
          <p:cNvPr id="302" name="Rectangle 51"/>
          <p:cNvSpPr>
            <a:spLocks noChangeArrowheads="1"/>
          </p:cNvSpPr>
          <p:nvPr/>
        </p:nvSpPr>
        <p:spPr bwMode="auto">
          <a:xfrm>
            <a:off x="6408068" y="5445224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kumimoji="0" lang="en-US" altLang="ko-KR" sz="900" kern="0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>
                <a:latin typeface="맑은 고딕" pitchFamily="50" charset="-127"/>
                <a:ea typeface="맑은 고딕" pitchFamily="50" charset="-127"/>
              </a:rPr>
              <a:t>가맹점 정보 제공</a:t>
            </a:r>
          </a:p>
        </p:txBody>
      </p:sp>
      <p:cxnSp>
        <p:nvCxnSpPr>
          <p:cNvPr id="307" name="꺾인 연결선 126"/>
          <p:cNvCxnSpPr>
            <a:cxnSpLocks noChangeShapeType="1"/>
          </p:cNvCxnSpPr>
          <p:nvPr/>
        </p:nvCxnSpPr>
        <p:spPr bwMode="auto">
          <a:xfrm flipV="1">
            <a:off x="1552118" y="2817096"/>
            <a:ext cx="2419807" cy="147600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311" name="꺾인 연결선 126"/>
          <p:cNvCxnSpPr>
            <a:cxnSpLocks noChangeShapeType="1"/>
            <a:endCxn id="297" idx="3"/>
          </p:cNvCxnSpPr>
          <p:nvPr/>
        </p:nvCxnSpPr>
        <p:spPr bwMode="auto">
          <a:xfrm rot="5400000">
            <a:off x="3484884" y="4735143"/>
            <a:ext cx="1998592" cy="721451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cxnSp>
        <p:nvCxnSpPr>
          <p:cNvPr id="318" name="꺾인 연결선 126"/>
          <p:cNvCxnSpPr>
            <a:cxnSpLocks noChangeShapeType="1"/>
            <a:stCxn id="356" idx="1"/>
            <a:endCxn id="284" idx="3"/>
          </p:cNvCxnSpPr>
          <p:nvPr/>
        </p:nvCxnSpPr>
        <p:spPr bwMode="auto">
          <a:xfrm rot="10800000">
            <a:off x="5975131" y="2655463"/>
            <a:ext cx="2218228" cy="1808465"/>
          </a:xfrm>
          <a:prstGeom prst="bentConnector3">
            <a:avLst>
              <a:gd name="adj1" fmla="val 25954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22818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71522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35" name="직사각형 334"/>
          <p:cNvSpPr>
            <a:spLocks noChangeArrowheads="1"/>
          </p:cNvSpPr>
          <p:nvPr/>
        </p:nvSpPr>
        <p:spPr bwMode="auto">
          <a:xfrm>
            <a:off x="437692" y="5095868"/>
            <a:ext cx="1116000" cy="1359991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b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OCB App</a:t>
            </a:r>
            <a:endParaRPr kumimoji="0" lang="ko-KR" altLang="en-US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7" name="직사각형 336"/>
          <p:cNvSpPr>
            <a:spLocks noChangeArrowheads="1"/>
          </p:cNvSpPr>
          <p:nvPr/>
        </p:nvSpPr>
        <p:spPr bwMode="auto">
          <a:xfrm>
            <a:off x="4953000" y="5039437"/>
            <a:ext cx="1235589" cy="1432106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b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베네피아</a:t>
            </a:r>
            <a:endParaRPr kumimoji="0" lang="en-US" altLang="ko-KR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38" name="Rectangle 51"/>
          <p:cNvSpPr>
            <a:spLocks noChangeArrowheads="1"/>
          </p:cNvSpPr>
          <p:nvPr/>
        </p:nvSpPr>
        <p:spPr bwMode="auto">
          <a:xfrm>
            <a:off x="5114689" y="5155661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등록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39" name="꺾인 연결선 126"/>
          <p:cNvCxnSpPr>
            <a:cxnSpLocks noChangeShapeType="1"/>
            <a:stCxn id="337" idx="0"/>
            <a:endCxn id="284" idx="2"/>
          </p:cNvCxnSpPr>
          <p:nvPr/>
        </p:nvCxnSpPr>
        <p:spPr bwMode="auto">
          <a:xfrm rot="16200000" flipV="1">
            <a:off x="4800730" y="4269371"/>
            <a:ext cx="942864" cy="597267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340" name="직사각형 339"/>
          <p:cNvSpPr/>
          <p:nvPr/>
        </p:nvSpPr>
        <p:spPr>
          <a:xfrm>
            <a:off x="5800725" y="2226636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1" name="직사각형 340"/>
          <p:cNvSpPr/>
          <p:nvPr/>
        </p:nvSpPr>
        <p:spPr>
          <a:xfrm>
            <a:off x="1289050" y="1961605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2" name="Rectangle 51"/>
          <p:cNvSpPr>
            <a:spLocks noChangeArrowheads="1"/>
          </p:cNvSpPr>
          <p:nvPr/>
        </p:nvSpPr>
        <p:spPr bwMode="auto">
          <a:xfrm>
            <a:off x="509564" y="2113806"/>
            <a:ext cx="959641" cy="40693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내역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소유내역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조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</a:t>
            </a:r>
          </a:p>
        </p:txBody>
      </p:sp>
      <p:sp>
        <p:nvSpPr>
          <p:cNvPr id="347" name="Rectangle 51"/>
          <p:cNvSpPr>
            <a:spLocks noChangeArrowheads="1"/>
          </p:cNvSpPr>
          <p:nvPr/>
        </p:nvSpPr>
        <p:spPr bwMode="auto">
          <a:xfrm>
            <a:off x="6399523" y="5836734"/>
            <a:ext cx="959641" cy="30394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계약정보 제공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3" name="Rectangle 51"/>
          <p:cNvSpPr>
            <a:spLocks noChangeArrowheads="1"/>
          </p:cNvSpPr>
          <p:nvPr/>
        </p:nvSpPr>
        <p:spPr bwMode="auto">
          <a:xfrm>
            <a:off x="6399523" y="6196774"/>
            <a:ext cx="959641" cy="30394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POI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위치정보 제공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6" name="직사각형 355"/>
          <p:cNvSpPr>
            <a:spLocks noChangeArrowheads="1"/>
          </p:cNvSpPr>
          <p:nvPr/>
        </p:nvSpPr>
        <p:spPr bwMode="auto">
          <a:xfrm>
            <a:off x="8193359" y="3789040"/>
            <a:ext cx="1215603" cy="1349774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err="1" smtClean="0">
                <a:latin typeface="맑은 고딕" pitchFamily="50" charset="-127"/>
                <a:ea typeface="맑은 고딕" pitchFamily="50" charset="-127"/>
              </a:rPr>
              <a:t>OneIDPASS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7" name="Rectangle 51"/>
          <p:cNvSpPr>
            <a:spLocks noChangeArrowheads="1"/>
          </p:cNvSpPr>
          <p:nvPr/>
        </p:nvSpPr>
        <p:spPr bwMode="auto">
          <a:xfrm>
            <a:off x="8265368" y="4047212"/>
            <a:ext cx="1046765" cy="307255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회원가입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8" name="Rectangle 51"/>
          <p:cNvSpPr>
            <a:spLocks noChangeArrowheads="1"/>
          </p:cNvSpPr>
          <p:nvPr/>
        </p:nvSpPr>
        <p:spPr bwMode="auto">
          <a:xfrm>
            <a:off x="8265368" y="4389961"/>
            <a:ext cx="1046765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카드</a:t>
            </a:r>
            <a:r>
              <a:rPr kumimoji="0" lang="en-US" altLang="ko-KR" sz="900" kern="0" dirty="0"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MDN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등록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0" name="Rectangle 51"/>
          <p:cNvSpPr>
            <a:spLocks noChangeArrowheads="1"/>
          </p:cNvSpPr>
          <p:nvPr/>
        </p:nvSpPr>
        <p:spPr bwMode="auto">
          <a:xfrm>
            <a:off x="8265368" y="4797656"/>
            <a:ext cx="1046765" cy="24178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회원탈퇴신청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2" name="Rectangle 51"/>
          <p:cNvSpPr>
            <a:spLocks noChangeArrowheads="1"/>
          </p:cNvSpPr>
          <p:nvPr/>
        </p:nvSpPr>
        <p:spPr bwMode="auto">
          <a:xfrm>
            <a:off x="517925" y="2564904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상환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>
            <a:spLocks noChangeArrowheads="1"/>
          </p:cNvSpPr>
          <p:nvPr/>
        </p:nvSpPr>
        <p:spPr bwMode="auto">
          <a:xfrm>
            <a:off x="8193359" y="5254440"/>
            <a:ext cx="1215603" cy="1342912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latin typeface="맑은 고딕" pitchFamily="50" charset="-127"/>
                <a:ea typeface="맑은 고딕" pitchFamily="50" charset="-127"/>
              </a:rPr>
              <a:t>SKTM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8271099" y="5500094"/>
            <a:ext cx="1046765" cy="30517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수신동의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탈퇴정보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Rectangle 51"/>
          <p:cNvSpPr>
            <a:spLocks noChangeArrowheads="1"/>
          </p:cNvSpPr>
          <p:nvPr/>
        </p:nvSpPr>
        <p:spPr bwMode="auto">
          <a:xfrm>
            <a:off x="8271099" y="5829617"/>
            <a:ext cx="1046765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포인트조회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카드소유내역조회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0" name="꺾인 연결선 126"/>
          <p:cNvCxnSpPr>
            <a:cxnSpLocks noChangeShapeType="1"/>
            <a:stCxn id="340" idx="3"/>
            <a:endCxn id="87" idx="1"/>
          </p:cNvCxnSpPr>
          <p:nvPr/>
        </p:nvCxnSpPr>
        <p:spPr bwMode="auto">
          <a:xfrm>
            <a:off x="5975131" y="2362621"/>
            <a:ext cx="2295968" cy="3290058"/>
          </a:xfrm>
          <a:prstGeom prst="bentConnector3">
            <a:avLst>
              <a:gd name="adj1" fmla="val 67009"/>
            </a:avLst>
          </a:prstGeom>
          <a:noFill/>
          <a:ln w="6350" cap="rnd">
            <a:solidFill>
              <a:schemeClr val="tx1"/>
            </a:solidFill>
            <a:prstDash val="sysDash"/>
            <a:miter lim="800000"/>
            <a:headEnd type="none" w="med" len="med"/>
            <a:tailEnd type="triangle"/>
          </a:ln>
        </p:spPr>
      </p:cxnSp>
      <p:sp>
        <p:nvSpPr>
          <p:cNvPr id="98" name="Rectangle 51"/>
          <p:cNvSpPr>
            <a:spLocks noChangeArrowheads="1"/>
          </p:cNvSpPr>
          <p:nvPr/>
        </p:nvSpPr>
        <p:spPr bwMode="auto">
          <a:xfrm>
            <a:off x="8271099" y="6189657"/>
            <a:ext cx="1046765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TM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결과 회원정보 변경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9" name="꺾인 연결선 126"/>
          <p:cNvCxnSpPr>
            <a:cxnSpLocks noChangeShapeType="1"/>
            <a:stCxn id="98" idx="1"/>
            <a:endCxn id="284" idx="3"/>
          </p:cNvCxnSpPr>
          <p:nvPr/>
        </p:nvCxnSpPr>
        <p:spPr bwMode="auto">
          <a:xfrm rot="10800000">
            <a:off x="5975131" y="2655463"/>
            <a:ext cx="2295968" cy="3702039"/>
          </a:xfrm>
          <a:prstGeom prst="bentConnector3">
            <a:avLst>
              <a:gd name="adj1" fmla="val 28427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113" name="꺾인 연결선 126"/>
          <p:cNvCxnSpPr>
            <a:cxnSpLocks noChangeShapeType="1"/>
            <a:stCxn id="88" idx="1"/>
            <a:endCxn id="284" idx="3"/>
          </p:cNvCxnSpPr>
          <p:nvPr/>
        </p:nvCxnSpPr>
        <p:spPr bwMode="auto">
          <a:xfrm rot="10800000">
            <a:off x="5975131" y="2655463"/>
            <a:ext cx="2295968" cy="3341999"/>
          </a:xfrm>
          <a:prstGeom prst="bentConnector3">
            <a:avLst>
              <a:gd name="adj1" fmla="val 28842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18" name="Rectangle 51"/>
          <p:cNvSpPr>
            <a:spLocks noChangeArrowheads="1"/>
          </p:cNvSpPr>
          <p:nvPr/>
        </p:nvSpPr>
        <p:spPr bwMode="auto">
          <a:xfrm>
            <a:off x="5114416" y="5523422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처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포인트조회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9" name="Rectangle 51"/>
          <p:cNvSpPr>
            <a:spLocks noChangeArrowheads="1"/>
          </p:cNvSpPr>
          <p:nvPr/>
        </p:nvSpPr>
        <p:spPr bwMode="auto">
          <a:xfrm>
            <a:off x="516366" y="3717032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등록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0" name="Rectangle 51"/>
          <p:cNvSpPr>
            <a:spLocks noChangeArrowheads="1"/>
          </p:cNvSpPr>
          <p:nvPr/>
        </p:nvSpPr>
        <p:spPr bwMode="auto">
          <a:xfrm>
            <a:off x="525618" y="4092786"/>
            <a:ext cx="961200" cy="40417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조회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환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" name="Rectangle 51"/>
          <p:cNvSpPr>
            <a:spLocks noChangeArrowheads="1"/>
          </p:cNvSpPr>
          <p:nvPr/>
        </p:nvSpPr>
        <p:spPr bwMode="auto">
          <a:xfrm>
            <a:off x="535416" y="4544633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비밀번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호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변경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4" name="Rectangle 51"/>
          <p:cNvSpPr>
            <a:spLocks noChangeArrowheads="1"/>
          </p:cNvSpPr>
          <p:nvPr/>
        </p:nvSpPr>
        <p:spPr bwMode="auto">
          <a:xfrm>
            <a:off x="3163813" y="5515744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소유내역조회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0" name="Rectangle 51"/>
          <p:cNvSpPr>
            <a:spLocks noChangeArrowheads="1"/>
          </p:cNvSpPr>
          <p:nvPr/>
        </p:nvSpPr>
        <p:spPr bwMode="auto">
          <a:xfrm>
            <a:off x="2126527" y="5515744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등록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4" name="꺾인 연결선 126"/>
          <p:cNvCxnSpPr>
            <a:cxnSpLocks noChangeShapeType="1"/>
          </p:cNvCxnSpPr>
          <p:nvPr/>
        </p:nvCxnSpPr>
        <p:spPr bwMode="auto">
          <a:xfrm rot="5400000">
            <a:off x="3600257" y="4620080"/>
            <a:ext cx="1587015" cy="540000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none"/>
          </a:ln>
        </p:spPr>
      </p:cxnSp>
      <p:cxnSp>
        <p:nvCxnSpPr>
          <p:cNvPr id="141" name="꺾인 연결선 126"/>
          <p:cNvCxnSpPr>
            <a:cxnSpLocks noChangeShapeType="1"/>
            <a:stCxn id="280" idx="3"/>
            <a:endCxn id="284" idx="1"/>
          </p:cNvCxnSpPr>
          <p:nvPr/>
        </p:nvCxnSpPr>
        <p:spPr bwMode="auto">
          <a:xfrm>
            <a:off x="1552118" y="2186829"/>
            <a:ext cx="2419807" cy="468633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47" name="Rectangle 51"/>
          <p:cNvSpPr>
            <a:spLocks noChangeArrowheads="1"/>
          </p:cNvSpPr>
          <p:nvPr/>
        </p:nvSpPr>
        <p:spPr bwMode="auto">
          <a:xfrm>
            <a:off x="535416" y="5157192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조회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8" name="Rectangle 51"/>
          <p:cNvSpPr>
            <a:spLocks noChangeArrowheads="1"/>
          </p:cNvSpPr>
          <p:nvPr/>
        </p:nvSpPr>
        <p:spPr bwMode="auto">
          <a:xfrm>
            <a:off x="535416" y="5536282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합산 가입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9" name="꺾인 연결선 126"/>
          <p:cNvCxnSpPr>
            <a:cxnSpLocks noChangeShapeType="1"/>
          </p:cNvCxnSpPr>
          <p:nvPr/>
        </p:nvCxnSpPr>
        <p:spPr bwMode="auto">
          <a:xfrm flipV="1">
            <a:off x="1553692" y="2989284"/>
            <a:ext cx="2418233" cy="234000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55" name="Rectangle 51"/>
          <p:cNvSpPr>
            <a:spLocks noChangeArrowheads="1"/>
          </p:cNvSpPr>
          <p:nvPr/>
        </p:nvSpPr>
        <p:spPr bwMode="auto">
          <a:xfrm>
            <a:off x="8295136" y="3473244"/>
            <a:ext cx="1048466" cy="22093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포인트 조회</a:t>
            </a:r>
            <a:endParaRPr kumimoji="0" lang="en-US" altLang="ko-KR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57" name="꺾인 연결선 126"/>
          <p:cNvCxnSpPr>
            <a:cxnSpLocks noChangeShapeType="1"/>
            <a:stCxn id="278" idx="1"/>
            <a:endCxn id="284" idx="3"/>
          </p:cNvCxnSpPr>
          <p:nvPr/>
        </p:nvCxnSpPr>
        <p:spPr bwMode="auto">
          <a:xfrm rot="10800000">
            <a:off x="5975131" y="2655463"/>
            <a:ext cx="2218228" cy="699379"/>
          </a:xfrm>
          <a:prstGeom prst="bentConnector3">
            <a:avLst>
              <a:gd name="adj1" fmla="val 26383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13" name="직선 연결선 12"/>
          <p:cNvCxnSpPr/>
          <p:nvPr/>
        </p:nvCxnSpPr>
        <p:spPr bwMode="auto">
          <a:xfrm>
            <a:off x="5800725" y="4096572"/>
            <a:ext cx="0" cy="683485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79" name="직선 연결선 78"/>
          <p:cNvCxnSpPr/>
          <p:nvPr/>
        </p:nvCxnSpPr>
        <p:spPr bwMode="auto">
          <a:xfrm flipH="1">
            <a:off x="5800724" y="4780057"/>
            <a:ext cx="108000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82" name="직선 연결선 81"/>
          <p:cNvCxnSpPr>
            <a:endCxn id="282" idx="0"/>
          </p:cNvCxnSpPr>
          <p:nvPr/>
        </p:nvCxnSpPr>
        <p:spPr bwMode="auto">
          <a:xfrm>
            <a:off x="6870897" y="4780057"/>
            <a:ext cx="7468" cy="474383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00" name="직사각형 99"/>
          <p:cNvSpPr>
            <a:spLocks noChangeArrowheads="1"/>
          </p:cNvSpPr>
          <p:nvPr/>
        </p:nvSpPr>
        <p:spPr bwMode="auto">
          <a:xfrm>
            <a:off x="8187974" y="995332"/>
            <a:ext cx="1215603" cy="657295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latin typeface="맑은 고딕" pitchFamily="50" charset="-127"/>
                <a:ea typeface="맑은 고딕" pitchFamily="50" charset="-127"/>
              </a:rPr>
              <a:t>ERP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Rectangle 51"/>
          <p:cNvSpPr>
            <a:spLocks noChangeArrowheads="1"/>
          </p:cNvSpPr>
          <p:nvPr/>
        </p:nvSpPr>
        <p:spPr bwMode="auto">
          <a:xfrm>
            <a:off x="8289751" y="1196752"/>
            <a:ext cx="1046765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정산실적</a:t>
            </a:r>
            <a:endParaRPr kumimoji="0" lang="en-US" altLang="ko-KR" sz="900" kern="0" dirty="0" smtClean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인보이스기준</a:t>
            </a:r>
            <a:r>
              <a:rPr kumimoji="0" lang="en-US" altLang="ko-KR" sz="900" kern="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900" kern="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3" name="꺾인 연결선 126"/>
          <p:cNvCxnSpPr>
            <a:cxnSpLocks noChangeShapeType="1"/>
            <a:endCxn id="100" idx="1"/>
          </p:cNvCxnSpPr>
          <p:nvPr/>
        </p:nvCxnSpPr>
        <p:spPr bwMode="auto">
          <a:xfrm flipV="1">
            <a:off x="5975130" y="1323980"/>
            <a:ext cx="2212844" cy="40616"/>
          </a:xfrm>
          <a:prstGeom prst="bentConnector3">
            <a:avLst>
              <a:gd name="adj1" fmla="val 797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106" name="꺾인 연결선 126"/>
          <p:cNvCxnSpPr>
            <a:cxnSpLocks noChangeShapeType="1"/>
            <a:stCxn id="280" idx="3"/>
          </p:cNvCxnSpPr>
          <p:nvPr/>
        </p:nvCxnSpPr>
        <p:spPr bwMode="auto">
          <a:xfrm>
            <a:off x="1552118" y="2186829"/>
            <a:ext cx="2419807" cy="621033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10" name="직사각형 109"/>
          <p:cNvSpPr>
            <a:spLocks noChangeArrowheads="1"/>
          </p:cNvSpPr>
          <p:nvPr/>
        </p:nvSpPr>
        <p:spPr bwMode="auto">
          <a:xfrm>
            <a:off x="8193359" y="1700809"/>
            <a:ext cx="1215603" cy="525828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latin typeface="맑은 고딕" pitchFamily="50" charset="-127"/>
                <a:ea typeface="맑은 고딕" pitchFamily="50" charset="-127"/>
              </a:rPr>
              <a:t>G/W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Rectangle 51"/>
          <p:cNvSpPr>
            <a:spLocks noChangeArrowheads="1"/>
          </p:cNvSpPr>
          <p:nvPr/>
        </p:nvSpPr>
        <p:spPr bwMode="auto">
          <a:xfrm>
            <a:off x="8295136" y="1902228"/>
            <a:ext cx="1046765" cy="2487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전자결</a:t>
            </a:r>
            <a:r>
              <a:rPr kumimoji="0" lang="ko-KR" altLang="en-US" sz="900" kern="0" dirty="0">
                <a:latin typeface="맑은 고딕" pitchFamily="50" charset="-127"/>
                <a:ea typeface="맑은 고딕" pitchFamily="50" charset="-127"/>
              </a:rPr>
              <a:t>재</a:t>
            </a:r>
          </a:p>
        </p:txBody>
      </p:sp>
      <p:cxnSp>
        <p:nvCxnSpPr>
          <p:cNvPr id="112" name="꺾인 연결선 126"/>
          <p:cNvCxnSpPr>
            <a:cxnSpLocks noChangeShapeType="1"/>
            <a:endCxn id="110" idx="1"/>
          </p:cNvCxnSpPr>
          <p:nvPr/>
        </p:nvCxnSpPr>
        <p:spPr bwMode="auto">
          <a:xfrm>
            <a:off x="5975130" y="1364595"/>
            <a:ext cx="2218229" cy="599128"/>
          </a:xfrm>
          <a:prstGeom prst="bentConnector3">
            <a:avLst>
              <a:gd name="adj1" fmla="val 79629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126" name="직사각형 125"/>
          <p:cNvSpPr>
            <a:spLocks noChangeArrowheads="1"/>
          </p:cNvSpPr>
          <p:nvPr/>
        </p:nvSpPr>
        <p:spPr bwMode="auto">
          <a:xfrm>
            <a:off x="8193360" y="2276872"/>
            <a:ext cx="1215603" cy="525828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err="1" smtClean="0">
                <a:latin typeface="맑은 고딕" pitchFamily="50" charset="-127"/>
                <a:ea typeface="맑은 고딕" pitchFamily="50" charset="-127"/>
              </a:rPr>
              <a:t>eTAX</a:t>
            </a:r>
            <a:endParaRPr kumimoji="0" lang="ko-KR" altLang="en-US" sz="105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7" name="Rectangle 51"/>
          <p:cNvSpPr>
            <a:spLocks noChangeArrowheads="1"/>
          </p:cNvSpPr>
          <p:nvPr/>
        </p:nvSpPr>
        <p:spPr bwMode="auto">
          <a:xfrm>
            <a:off x="8295137" y="2478291"/>
            <a:ext cx="1046765" cy="248789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latin typeface="맑은 고딕" pitchFamily="50" charset="-127"/>
                <a:ea typeface="맑은 고딕" pitchFamily="50" charset="-127"/>
              </a:rPr>
              <a:t>세금계산</a:t>
            </a:r>
            <a:r>
              <a:rPr kumimoji="0" lang="ko-KR" altLang="en-US" sz="900" kern="0" dirty="0">
                <a:latin typeface="맑은 고딕" pitchFamily="50" charset="-127"/>
                <a:ea typeface="맑은 고딕" pitchFamily="50" charset="-127"/>
              </a:rPr>
              <a:t>서</a:t>
            </a:r>
          </a:p>
        </p:txBody>
      </p:sp>
      <p:cxnSp>
        <p:nvCxnSpPr>
          <p:cNvPr id="128" name="꺾인 연결선 126"/>
          <p:cNvCxnSpPr>
            <a:cxnSpLocks noChangeShapeType="1"/>
            <a:endCxn id="126" idx="1"/>
          </p:cNvCxnSpPr>
          <p:nvPr/>
        </p:nvCxnSpPr>
        <p:spPr bwMode="auto">
          <a:xfrm>
            <a:off x="5975130" y="1364595"/>
            <a:ext cx="2218230" cy="1175191"/>
          </a:xfrm>
          <a:prstGeom prst="bentConnector3">
            <a:avLst>
              <a:gd name="adj1" fmla="val 7962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83" name="Rectangle 51"/>
          <p:cNvSpPr>
            <a:spLocks noChangeArrowheads="1"/>
          </p:cNvSpPr>
          <p:nvPr/>
        </p:nvSpPr>
        <p:spPr bwMode="auto">
          <a:xfrm>
            <a:off x="5115353" y="5905847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처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포인트사용 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>
            <a:spLocks noChangeArrowheads="1"/>
          </p:cNvSpPr>
          <p:nvPr/>
        </p:nvSpPr>
        <p:spPr bwMode="auto">
          <a:xfrm>
            <a:off x="2139153" y="930940"/>
            <a:ext cx="1364313" cy="1220077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b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 EM</a:t>
            </a:r>
            <a:endParaRPr kumimoji="0" lang="en-US" altLang="ko-KR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6" name="꺾인 연결선 126"/>
          <p:cNvCxnSpPr>
            <a:cxnSpLocks noChangeShapeType="1"/>
            <a:stCxn id="84" idx="3"/>
          </p:cNvCxnSpPr>
          <p:nvPr/>
        </p:nvCxnSpPr>
        <p:spPr bwMode="auto">
          <a:xfrm>
            <a:off x="3503466" y="1540979"/>
            <a:ext cx="468459" cy="436694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89" name="Rectangle 51"/>
          <p:cNvSpPr>
            <a:spLocks noChangeArrowheads="1"/>
          </p:cNvSpPr>
          <p:nvPr/>
        </p:nvSpPr>
        <p:spPr bwMode="auto">
          <a:xfrm>
            <a:off x="2478968" y="990253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등록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정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Rectangle 51"/>
          <p:cNvSpPr>
            <a:spLocks noChangeArrowheads="1"/>
          </p:cNvSpPr>
          <p:nvPr/>
        </p:nvSpPr>
        <p:spPr bwMode="auto">
          <a:xfrm>
            <a:off x="2478695" y="1358014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처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포인트조회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Rectangle 51"/>
          <p:cNvSpPr>
            <a:spLocks noChangeArrowheads="1"/>
          </p:cNvSpPr>
          <p:nvPr/>
        </p:nvSpPr>
        <p:spPr bwMode="auto">
          <a:xfrm>
            <a:off x="2479632" y="1740439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처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포인트사용 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Rectangle 51"/>
          <p:cNvSpPr>
            <a:spLocks noChangeArrowheads="1"/>
          </p:cNvSpPr>
          <p:nvPr/>
        </p:nvSpPr>
        <p:spPr bwMode="auto">
          <a:xfrm>
            <a:off x="498029" y="2939772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우선순위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Rectangle 51"/>
          <p:cNvSpPr>
            <a:spLocks noChangeArrowheads="1"/>
          </p:cNvSpPr>
          <p:nvPr/>
        </p:nvSpPr>
        <p:spPr bwMode="auto">
          <a:xfrm>
            <a:off x="529066" y="5905847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적립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1681508" y="4005064"/>
            <a:ext cx="923651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1742424" y="4343588"/>
            <a:ext cx="801823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1748999" y="5080975"/>
            <a:ext cx="801823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1793838" y="2276872"/>
            <a:ext cx="801823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1725213" y="2493820"/>
            <a:ext cx="963726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3483210" y="971134"/>
            <a:ext cx="963726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3248504" y="2179455"/>
            <a:ext cx="801823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7155477" y="1123786"/>
            <a:ext cx="957314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산 실적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직사각형 106"/>
          <p:cNvSpPr/>
          <p:nvPr/>
        </p:nvSpPr>
        <p:spPr>
          <a:xfrm>
            <a:off x="7041232" y="1700808"/>
            <a:ext cx="1194559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맹점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8" name="직사각형 107"/>
          <p:cNvSpPr/>
          <p:nvPr/>
        </p:nvSpPr>
        <p:spPr>
          <a:xfrm>
            <a:off x="7160705" y="2276872"/>
            <a:ext cx="1032655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금계산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7205938" y="3096554"/>
            <a:ext cx="963726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5" name="직사각형 114"/>
          <p:cNvSpPr/>
          <p:nvPr/>
        </p:nvSpPr>
        <p:spPr>
          <a:xfrm>
            <a:off x="7185248" y="4149080"/>
            <a:ext cx="963726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7373650" y="5301208"/>
            <a:ext cx="963726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>
            <a:off x="6043972" y="4494532"/>
            <a:ext cx="1194559" cy="2169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제휴사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맹점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1" name="직사각형 120"/>
          <p:cNvSpPr/>
          <p:nvPr/>
        </p:nvSpPr>
        <p:spPr>
          <a:xfrm>
            <a:off x="3161768" y="4869160"/>
            <a:ext cx="963725" cy="4662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5" name="직사각형 124"/>
          <p:cNvSpPr/>
          <p:nvPr/>
        </p:nvSpPr>
        <p:spPr>
          <a:xfrm>
            <a:off x="4663765" y="4368344"/>
            <a:ext cx="963725" cy="4662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원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카드 정보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 정보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8971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70858" y="675557"/>
            <a:ext cx="9214804" cy="61355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461956" y="2023593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Rectangle 51"/>
          <p:cNvSpPr>
            <a:spLocks noChangeArrowheads="1"/>
          </p:cNvSpPr>
          <p:nvPr/>
        </p:nvSpPr>
        <p:spPr bwMode="auto">
          <a:xfrm>
            <a:off x="461956" y="4443157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461956" y="565615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691040"/>
              </p:ext>
            </p:extLst>
          </p:nvPr>
        </p:nvGraphicFramePr>
        <p:xfrm>
          <a:off x="1160107" y="3219021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IN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5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9460575"/>
              </p:ext>
            </p:extLst>
          </p:nvPr>
        </p:nvGraphicFramePr>
        <p:xfrm>
          <a:off x="2637986" y="3219021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IN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5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638138"/>
              </p:ext>
            </p:extLst>
          </p:nvPr>
        </p:nvGraphicFramePr>
        <p:xfrm>
          <a:off x="1160107" y="202739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IN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31/30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Rectangle 51"/>
          <p:cNvSpPr>
            <a:spLocks noChangeArrowheads="1"/>
          </p:cNvSpPr>
          <p:nvPr/>
        </p:nvSpPr>
        <p:spPr bwMode="auto">
          <a:xfrm>
            <a:off x="461956" y="94099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</a:t>
            </a:r>
          </a:p>
        </p:txBody>
      </p:sp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917765"/>
              </p:ext>
            </p:extLst>
          </p:nvPr>
        </p:nvGraphicFramePr>
        <p:xfrm>
          <a:off x="1166838" y="896072"/>
          <a:ext cx="1397317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26048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FE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40/240/132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nylin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350993"/>
              </p:ext>
            </p:extLst>
          </p:nvPr>
        </p:nvGraphicFramePr>
        <p:xfrm>
          <a:off x="2663600" y="896072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FE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41/241/132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nylin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431236"/>
              </p:ext>
            </p:extLst>
          </p:nvPr>
        </p:nvGraphicFramePr>
        <p:xfrm>
          <a:off x="4197284" y="893800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FEP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51/251/132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nylin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110722"/>
              </p:ext>
            </p:extLst>
          </p:nvPr>
        </p:nvGraphicFramePr>
        <p:xfrm>
          <a:off x="2637986" y="202111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INWE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32/30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7664"/>
              </p:ext>
            </p:extLst>
          </p:nvPr>
        </p:nvGraphicFramePr>
        <p:xfrm>
          <a:off x="4088904" y="202960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OUTWE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55.22/21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표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535405"/>
              </p:ext>
            </p:extLst>
          </p:nvPr>
        </p:nvGraphicFramePr>
        <p:xfrm>
          <a:off x="5543920" y="202960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OUTWE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11.45.55.23/21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70120"/>
              </p:ext>
            </p:extLst>
          </p:nvPr>
        </p:nvGraphicFramePr>
        <p:xfrm>
          <a:off x="4103760" y="3218937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OUTWAS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4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90436"/>
              </p:ext>
            </p:extLst>
          </p:nvPr>
        </p:nvGraphicFramePr>
        <p:xfrm>
          <a:off x="5554678" y="3218937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OUTWAS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42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5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795277"/>
              </p:ext>
            </p:extLst>
          </p:nvPr>
        </p:nvGraphicFramePr>
        <p:xfrm>
          <a:off x="1160107" y="4443157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AP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3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 (TMAX 4.0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454450"/>
              </p:ext>
            </p:extLst>
          </p:nvPr>
        </p:nvGraphicFramePr>
        <p:xfrm>
          <a:off x="2637986" y="4443157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AP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36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 (TMAX 4.0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586530"/>
              </p:ext>
            </p:extLst>
          </p:nvPr>
        </p:nvGraphicFramePr>
        <p:xfrm>
          <a:off x="4103760" y="444307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BATAP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56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 (TMAX 4.0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3" name="표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468836"/>
              </p:ext>
            </p:extLst>
          </p:nvPr>
        </p:nvGraphicFramePr>
        <p:xfrm>
          <a:off x="5554678" y="444307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BATAP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4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 (TMAX 4.0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897879"/>
              </p:ext>
            </p:extLst>
          </p:nvPr>
        </p:nvGraphicFramePr>
        <p:xfrm>
          <a:off x="1163830" y="5663520"/>
          <a:ext cx="1397317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26048"/>
              </a:tblGrid>
              <a:tr h="14951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38/39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737364"/>
              </p:ext>
            </p:extLst>
          </p:nvPr>
        </p:nvGraphicFramePr>
        <p:xfrm>
          <a:off x="2660592" y="5663520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4951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DB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.43/44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6" name="표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994032"/>
              </p:ext>
            </p:extLst>
          </p:nvPr>
        </p:nvGraphicFramePr>
        <p:xfrm>
          <a:off x="4194276" y="5661248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4951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BAT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45/46()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88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7" name="Rectangle 51"/>
          <p:cNvSpPr>
            <a:spLocks noChangeArrowheads="1"/>
          </p:cNvSpPr>
          <p:nvPr/>
        </p:nvSpPr>
        <p:spPr bwMode="auto">
          <a:xfrm>
            <a:off x="461956" y="321297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직사각형 52"/>
          <p:cNvSpPr/>
          <p:nvPr/>
        </p:nvSpPr>
        <p:spPr bwMode="auto">
          <a:xfrm>
            <a:off x="7750554" y="3743345"/>
            <a:ext cx="1683087" cy="2709991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graphicFrame>
        <p:nvGraphicFramePr>
          <p:cNvPr id="54" name="표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12932"/>
              </p:ext>
            </p:extLst>
          </p:nvPr>
        </p:nvGraphicFramePr>
        <p:xfrm>
          <a:off x="7926576" y="3912175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mc-scppa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5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P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5" name="표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739749"/>
              </p:ext>
            </p:extLst>
          </p:nvPr>
        </p:nvGraphicFramePr>
        <p:xfrm>
          <a:off x="7930942" y="522928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mc-scpd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5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</a:t>
                      </a:r>
                      <a:r>
                        <a:rPr lang="en-US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Oralce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0g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6" name="Rectangle 51"/>
          <p:cNvSpPr>
            <a:spLocks noChangeArrowheads="1"/>
          </p:cNvSpPr>
          <p:nvPr/>
        </p:nvSpPr>
        <p:spPr bwMode="auto">
          <a:xfrm>
            <a:off x="7230709" y="3919635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Rectangle 51"/>
          <p:cNvSpPr>
            <a:spLocks noChangeArrowheads="1"/>
          </p:cNvSpPr>
          <p:nvPr/>
        </p:nvSpPr>
        <p:spPr bwMode="auto">
          <a:xfrm>
            <a:off x="7241467" y="5226537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7750554" y="3591869"/>
            <a:ext cx="64120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서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1176855" y="732054"/>
            <a:ext cx="75180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XMile</a:t>
            </a:r>
            <a:r>
              <a:rPr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0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08" y="3021766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" name="Shape 52"/>
          <p:cNvCxnSpPr>
            <a:endCxn id="60" idx="1"/>
          </p:cNvCxnSpPr>
          <p:nvPr/>
        </p:nvCxnSpPr>
        <p:spPr>
          <a:xfrm rot="5400000" flipH="1" flipV="1">
            <a:off x="2117633" y="2891642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hape 52"/>
          <p:cNvCxnSpPr>
            <a:endCxn id="60" idx="3"/>
          </p:cNvCxnSpPr>
          <p:nvPr/>
        </p:nvCxnSpPr>
        <p:spPr>
          <a:xfrm rot="16200000" flipV="1">
            <a:off x="3079641" y="2893077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80" y="3000250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4" name="Shape 52"/>
          <p:cNvCxnSpPr>
            <a:endCxn id="63" idx="1"/>
          </p:cNvCxnSpPr>
          <p:nvPr/>
        </p:nvCxnSpPr>
        <p:spPr>
          <a:xfrm rot="5400000" flipH="1" flipV="1">
            <a:off x="5019205" y="2870126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hape 52"/>
          <p:cNvCxnSpPr>
            <a:endCxn id="63" idx="3"/>
          </p:cNvCxnSpPr>
          <p:nvPr/>
        </p:nvCxnSpPr>
        <p:spPr>
          <a:xfrm rot="16200000" flipV="1">
            <a:off x="5981213" y="2871561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표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6196785"/>
              </p:ext>
            </p:extLst>
          </p:nvPr>
        </p:nvGraphicFramePr>
        <p:xfrm>
          <a:off x="5817096" y="903532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WEBFE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8/1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0" name="표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029941"/>
              </p:ext>
            </p:extLst>
          </p:nvPr>
        </p:nvGraphicFramePr>
        <p:xfrm>
          <a:off x="7350780" y="900234"/>
          <a:ext cx="1446530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775261"/>
              </a:tblGrid>
              <a:tr h="16069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MWEBFE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9/1(VIP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49213">
                <a:tc gridSpan="2"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8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80" y="4213628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Shape 52"/>
          <p:cNvCxnSpPr>
            <a:endCxn id="48" idx="1"/>
          </p:cNvCxnSpPr>
          <p:nvPr/>
        </p:nvCxnSpPr>
        <p:spPr>
          <a:xfrm rot="5400000" flipH="1" flipV="1">
            <a:off x="5019205" y="4083504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hape 52"/>
          <p:cNvCxnSpPr>
            <a:endCxn id="48" idx="3"/>
          </p:cNvCxnSpPr>
          <p:nvPr/>
        </p:nvCxnSpPr>
        <p:spPr>
          <a:xfrm rot="16200000" flipV="1">
            <a:off x="5981213" y="4084939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770" y="4213628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2" name="Shape 52"/>
          <p:cNvCxnSpPr>
            <a:endCxn id="51" idx="1"/>
          </p:cNvCxnSpPr>
          <p:nvPr/>
        </p:nvCxnSpPr>
        <p:spPr>
          <a:xfrm rot="5400000" flipH="1" flipV="1">
            <a:off x="2088395" y="4083504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hape 52"/>
          <p:cNvCxnSpPr>
            <a:endCxn id="51" idx="3"/>
          </p:cNvCxnSpPr>
          <p:nvPr/>
        </p:nvCxnSpPr>
        <p:spPr>
          <a:xfrm rot="16200000" flipV="1">
            <a:off x="3050403" y="4084939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254" y="1849597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8" name="Shape 52"/>
          <p:cNvCxnSpPr>
            <a:endCxn id="67" idx="1"/>
          </p:cNvCxnSpPr>
          <p:nvPr/>
        </p:nvCxnSpPr>
        <p:spPr>
          <a:xfrm rot="5400000" flipH="1" flipV="1">
            <a:off x="2066879" y="1719473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hape 52"/>
          <p:cNvCxnSpPr>
            <a:endCxn id="67" idx="3"/>
          </p:cNvCxnSpPr>
          <p:nvPr/>
        </p:nvCxnSpPr>
        <p:spPr>
          <a:xfrm rot="16200000" flipV="1">
            <a:off x="3028887" y="1720908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056" y="1826606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3" name="Shape 52"/>
          <p:cNvCxnSpPr>
            <a:endCxn id="72" idx="1"/>
          </p:cNvCxnSpPr>
          <p:nvPr/>
        </p:nvCxnSpPr>
        <p:spPr>
          <a:xfrm rot="5400000" flipH="1" flipV="1">
            <a:off x="4925681" y="1696482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hape 52"/>
          <p:cNvCxnSpPr>
            <a:endCxn id="72" idx="3"/>
          </p:cNvCxnSpPr>
          <p:nvPr/>
        </p:nvCxnSpPr>
        <p:spPr>
          <a:xfrm rot="16200000" flipV="1">
            <a:off x="5887689" y="1697917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772" y="697469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Shape 52"/>
          <p:cNvCxnSpPr>
            <a:endCxn id="75" idx="1"/>
          </p:cNvCxnSpPr>
          <p:nvPr/>
        </p:nvCxnSpPr>
        <p:spPr>
          <a:xfrm rot="5400000" flipH="1" flipV="1">
            <a:off x="6747397" y="567345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hape 52"/>
          <p:cNvCxnSpPr>
            <a:endCxn id="75" idx="3"/>
          </p:cNvCxnSpPr>
          <p:nvPr/>
        </p:nvCxnSpPr>
        <p:spPr>
          <a:xfrm rot="16200000" flipV="1">
            <a:off x="7709405" y="568780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83" y="697073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5" name="Shape 52"/>
          <p:cNvCxnSpPr>
            <a:stCxn id="31" idx="0"/>
            <a:endCxn id="88" idx="1"/>
          </p:cNvCxnSpPr>
          <p:nvPr/>
        </p:nvCxnSpPr>
        <p:spPr>
          <a:xfrm rot="5400000" flipH="1" flipV="1">
            <a:off x="2463989" y="178679"/>
            <a:ext cx="118901" cy="131588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hape 52"/>
          <p:cNvCxnSpPr>
            <a:stCxn id="34" idx="0"/>
            <a:endCxn id="88" idx="3"/>
          </p:cNvCxnSpPr>
          <p:nvPr/>
        </p:nvCxnSpPr>
        <p:spPr>
          <a:xfrm rot="16200000" flipV="1">
            <a:off x="4198575" y="171826"/>
            <a:ext cx="116629" cy="1327320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hape 52"/>
          <p:cNvCxnSpPr>
            <a:stCxn id="33" idx="0"/>
            <a:endCxn id="88" idx="2"/>
          </p:cNvCxnSpPr>
          <p:nvPr/>
        </p:nvCxnSpPr>
        <p:spPr>
          <a:xfrm rot="5400000" flipH="1" flipV="1">
            <a:off x="3367684" y="876451"/>
            <a:ext cx="38803" cy="44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83" y="544522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6" name="Shape 52"/>
          <p:cNvCxnSpPr>
            <a:endCxn id="105" idx="1"/>
          </p:cNvCxnSpPr>
          <p:nvPr/>
        </p:nvCxnSpPr>
        <p:spPr>
          <a:xfrm rot="5400000" flipH="1" flipV="1">
            <a:off x="2616389" y="4926830"/>
            <a:ext cx="118901" cy="131588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hape 52"/>
          <p:cNvCxnSpPr>
            <a:endCxn id="105" idx="3"/>
          </p:cNvCxnSpPr>
          <p:nvPr/>
        </p:nvCxnSpPr>
        <p:spPr>
          <a:xfrm rot="16200000" flipV="1">
            <a:off x="4350975" y="4919977"/>
            <a:ext cx="116629" cy="1327320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hape 52"/>
          <p:cNvCxnSpPr>
            <a:endCxn id="105" idx="2"/>
          </p:cNvCxnSpPr>
          <p:nvPr/>
        </p:nvCxnSpPr>
        <p:spPr>
          <a:xfrm rot="5400000" flipH="1" flipV="1">
            <a:off x="3520084" y="5624602"/>
            <a:ext cx="38803" cy="44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55194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개발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직사각형 4"/>
          <p:cNvSpPr/>
          <p:nvPr/>
        </p:nvSpPr>
        <p:spPr bwMode="auto">
          <a:xfrm>
            <a:off x="1050919" y="1391637"/>
            <a:ext cx="3542042" cy="1429350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6" name="직사각형 5"/>
          <p:cNvSpPr/>
          <p:nvPr/>
        </p:nvSpPr>
        <p:spPr bwMode="auto">
          <a:xfrm>
            <a:off x="1050918" y="4591938"/>
            <a:ext cx="3542042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7" name="직사각형 6"/>
          <p:cNvSpPr/>
          <p:nvPr/>
        </p:nvSpPr>
        <p:spPr bwMode="auto">
          <a:xfrm>
            <a:off x="1050917" y="3012964"/>
            <a:ext cx="3542043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Rectangle 51"/>
          <p:cNvSpPr>
            <a:spLocks noChangeArrowheads="1"/>
          </p:cNvSpPr>
          <p:nvPr/>
        </p:nvSpPr>
        <p:spPr bwMode="auto">
          <a:xfrm>
            <a:off x="707729" y="29141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6" name="표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548688"/>
              </p:ext>
            </p:extLst>
          </p:nvPr>
        </p:nvGraphicFramePr>
        <p:xfrm>
          <a:off x="1236142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NXMWA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5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 6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593032"/>
              </p:ext>
            </p:extLst>
          </p:nvPr>
        </p:nvGraphicFramePr>
        <p:xfrm>
          <a:off x="123614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FE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nylin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032648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NXM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5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739922"/>
              </p:ext>
            </p:extLst>
          </p:nvPr>
        </p:nvGraphicFramePr>
        <p:xfrm>
          <a:off x="2818374" y="1681564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FEP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5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통신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nylin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" name="직사각형 30"/>
          <p:cNvSpPr/>
          <p:nvPr/>
        </p:nvSpPr>
        <p:spPr bwMode="auto">
          <a:xfrm>
            <a:off x="5083365" y="3023806"/>
            <a:ext cx="4190115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2" name="Rectangle 51"/>
          <p:cNvSpPr>
            <a:spLocks noChangeArrowheads="1"/>
          </p:cNvSpPr>
          <p:nvPr/>
        </p:nvSpPr>
        <p:spPr bwMode="auto">
          <a:xfrm>
            <a:off x="4740177" y="292494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4" name="표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4924634"/>
              </p:ext>
            </p:extLst>
          </p:nvPr>
        </p:nvGraphicFramePr>
        <p:xfrm>
          <a:off x="5268590" y="329582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NXMAPP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4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MAX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643298"/>
              </p:ext>
            </p:extLst>
          </p:nvPr>
        </p:nvGraphicFramePr>
        <p:xfrm>
          <a:off x="6780758" y="3295826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XDEV_TXTAPP</a:t>
                      </a:r>
                      <a:endParaRPr lang="en-US" altLang="ko-KR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7.15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MAX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46478"/>
              </p:ext>
            </p:extLst>
          </p:nvPr>
        </p:nvGraphicFramePr>
        <p:xfrm>
          <a:off x="272075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MC_SCPDB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05.4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ix 6.1 </a:t>
                      </a:r>
                      <a:endParaRPr lang="en-US" altLang="ko-KR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7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252" y="142353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" name="Shape 52"/>
          <p:cNvCxnSpPr>
            <a:endCxn id="37" idx="1"/>
          </p:cNvCxnSpPr>
          <p:nvPr/>
        </p:nvCxnSpPr>
        <p:spPr>
          <a:xfrm rot="5400000" flipH="1" flipV="1">
            <a:off x="2066877" y="1293410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hape 52"/>
          <p:cNvCxnSpPr>
            <a:endCxn id="37" idx="3"/>
          </p:cNvCxnSpPr>
          <p:nvPr/>
        </p:nvCxnSpPr>
        <p:spPr>
          <a:xfrm rot="16200000" flipV="1">
            <a:off x="3028885" y="1294845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204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1170</TotalTime>
  <Pages>39</Pages>
  <Words>1842</Words>
  <Application>Microsoft Office PowerPoint</Application>
  <PresentationFormat>A4 용지(210x297mm)</PresentationFormat>
  <Paragraphs>878</Paragraphs>
  <Slides>12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3" baseType="lpstr">
      <vt:lpstr>1_other</vt:lpstr>
      <vt:lpstr>Architecture 설계서 -  SKP NXmile(OK캐쉬백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348</cp:revision>
  <cp:lastPrinted>2014-12-12T04:13:00Z</cp:lastPrinted>
  <dcterms:created xsi:type="dcterms:W3CDTF">1996-10-14T12:11:22Z</dcterms:created>
  <dcterms:modified xsi:type="dcterms:W3CDTF">2015-03-26T10:20:35Z</dcterms:modified>
</cp:coreProperties>
</file>